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342" r:id="rId3"/>
    <p:sldId id="353" r:id="rId4"/>
    <p:sldId id="343" r:id="rId5"/>
    <p:sldId id="345" r:id="rId6"/>
    <p:sldId id="346" r:id="rId7"/>
    <p:sldId id="352" r:id="rId8"/>
    <p:sldId id="347" r:id="rId9"/>
    <p:sldId id="348" r:id="rId10"/>
    <p:sldId id="355" r:id="rId11"/>
    <p:sldId id="349" r:id="rId12"/>
    <p:sldId id="351" r:id="rId13"/>
    <p:sldId id="354" r:id="rId14"/>
  </p:sldIdLst>
  <p:sldSz cx="18288000" cy="10287000"/>
  <p:notesSz cx="18288000" cy="10287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32FF"/>
    <a:srgbClr val="4F81BD"/>
    <a:srgbClr val="8C96C2"/>
    <a:srgbClr val="7C609E"/>
    <a:srgbClr val="FFFFFF"/>
    <a:srgbClr val="17375E"/>
    <a:srgbClr val="000000"/>
    <a:srgbClr val="C0504D"/>
    <a:srgbClr val="00B050"/>
    <a:srgbClr val="71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248155-6276-4195-939A-9F7159BD5C68}" v="1261" dt="2019-05-07T22:23:39.747"/>
    <p1510:client id="{AEBCAD94-BEE7-8F4A-AB6C-64CCD90567B6}" v="573" dt="2019-05-08T06:18:02.343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31"/>
    <p:restoredTop sz="94533"/>
  </p:normalViewPr>
  <p:slideViewPr>
    <p:cSldViewPr snapToGrid="0">
      <p:cViewPr>
        <p:scale>
          <a:sx n="33" d="100"/>
          <a:sy n="33" d="100"/>
        </p:scale>
        <p:origin x="1256" y="1072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sz Him SUEN" userId="da5993a8-f7f5-432e-85e3-268aabf1f3b0" providerId="ADAL" clId="{13248155-6276-4195-939A-9F7159BD5C68}"/>
    <pc:docChg chg="modSld">
      <pc:chgData name="Tsz Him SUEN" userId="da5993a8-f7f5-432e-85e3-268aabf1f3b0" providerId="ADAL" clId="{13248155-6276-4195-939A-9F7159BD5C68}" dt="2019-05-07T22:23:56.014" v="59" actId="20577"/>
      <pc:docMkLst>
        <pc:docMk/>
      </pc:docMkLst>
      <pc:sldChg chg="addSp modSp modAnim">
        <pc:chgData name="Tsz Him SUEN" userId="da5993a8-f7f5-432e-85e3-268aabf1f3b0" providerId="ADAL" clId="{13248155-6276-4195-939A-9F7159BD5C68}" dt="2019-05-07T22:23:56.014" v="59" actId="20577"/>
        <pc:sldMkLst>
          <pc:docMk/>
          <pc:sldMk cId="4064535388" sldId="353"/>
        </pc:sldMkLst>
        <pc:spChg chg="add mod">
          <ac:chgData name="Tsz Him SUEN" userId="da5993a8-f7f5-432e-85e3-268aabf1f3b0" providerId="ADAL" clId="{13248155-6276-4195-939A-9F7159BD5C68}" dt="2019-05-07T22:23:56.014" v="59" actId="20577"/>
          <ac:spMkLst>
            <pc:docMk/>
            <pc:sldMk cId="4064535388" sldId="353"/>
            <ac:spMk id="19" creationId="{74216E22-7034-4D89-9660-7198991E3092}"/>
          </ac:spMkLst>
        </pc:spChg>
        <pc:spChg chg="add mod">
          <ac:chgData name="Tsz Him SUEN" userId="da5993a8-f7f5-432e-85e3-268aabf1f3b0" providerId="ADAL" clId="{13248155-6276-4195-939A-9F7159BD5C68}" dt="2019-05-07T22:23:32.416" v="3" actId="1076"/>
          <ac:spMkLst>
            <pc:docMk/>
            <pc:sldMk cId="4064535388" sldId="353"/>
            <ac:spMk id="21" creationId="{26DE59CB-5547-4D6A-A322-5E8C013C3571}"/>
          </ac:spMkLst>
        </pc:spChg>
        <pc:spChg chg="add mod">
          <ac:chgData name="Tsz Him SUEN" userId="da5993a8-f7f5-432e-85e3-268aabf1f3b0" providerId="ADAL" clId="{13248155-6276-4195-939A-9F7159BD5C68}" dt="2019-05-07T22:23:39.747" v="6" actId="20577"/>
          <ac:spMkLst>
            <pc:docMk/>
            <pc:sldMk cId="4064535388" sldId="353"/>
            <ac:spMk id="22" creationId="{ADA92F19-EA22-499C-B44F-7A3504059A63}"/>
          </ac:spMkLst>
        </pc:spChg>
      </pc:sldChg>
    </pc:docChg>
  </pc:docChgLst>
  <pc:docChgLst>
    <pc:chgData name="Tsz Him SUEN" userId="da5993a8-f7f5-432e-85e3-268aabf1f3b0" providerId="ADAL" clId="{AEBCAD94-BEE7-8F4A-AB6C-64CCD90567B6}"/>
    <pc:docChg chg="undo custSel addSld modSld">
      <pc:chgData name="Tsz Him SUEN" userId="da5993a8-f7f5-432e-85e3-268aabf1f3b0" providerId="ADAL" clId="{AEBCAD94-BEE7-8F4A-AB6C-64CCD90567B6}" dt="2019-05-08T06:18:02.343" v="1281"/>
      <pc:docMkLst>
        <pc:docMk/>
      </pc:docMkLst>
      <pc:sldChg chg="addSp modSp modAnim">
        <pc:chgData name="Tsz Him SUEN" userId="da5993a8-f7f5-432e-85e3-268aabf1f3b0" providerId="ADAL" clId="{AEBCAD94-BEE7-8F4A-AB6C-64CCD90567B6}" dt="2019-05-08T06:07:38.411" v="1074"/>
        <pc:sldMkLst>
          <pc:docMk/>
          <pc:sldMk cId="3445176742" sldId="346"/>
        </pc:sldMkLst>
        <pc:spChg chg="mod">
          <ac:chgData name="Tsz Him SUEN" userId="da5993a8-f7f5-432e-85e3-268aabf1f3b0" providerId="ADAL" clId="{AEBCAD94-BEE7-8F4A-AB6C-64CCD90567B6}" dt="2019-05-08T06:07:23.576" v="1071" actId="164"/>
          <ac:spMkLst>
            <pc:docMk/>
            <pc:sldMk cId="3445176742" sldId="346"/>
            <ac:spMk id="15" creationId="{EBA15EA7-0E43-42EF-9E4E-016F229F3852}"/>
          </ac:spMkLst>
        </pc:spChg>
        <pc:spChg chg="mod">
          <ac:chgData name="Tsz Him SUEN" userId="da5993a8-f7f5-432e-85e3-268aabf1f3b0" providerId="ADAL" clId="{AEBCAD94-BEE7-8F4A-AB6C-64CCD90567B6}" dt="2019-05-08T06:07:23.576" v="1071" actId="164"/>
          <ac:spMkLst>
            <pc:docMk/>
            <pc:sldMk cId="3445176742" sldId="346"/>
            <ac:spMk id="16" creationId="{FCD47930-837B-4B68-A342-C8EB1F5F3F41}"/>
          </ac:spMkLst>
        </pc:spChg>
        <pc:spChg chg="mod">
          <ac:chgData name="Tsz Him SUEN" userId="da5993a8-f7f5-432e-85e3-268aabf1f3b0" providerId="ADAL" clId="{AEBCAD94-BEE7-8F4A-AB6C-64CCD90567B6}" dt="2019-05-08T06:07:28.364" v="1072" actId="164"/>
          <ac:spMkLst>
            <pc:docMk/>
            <pc:sldMk cId="3445176742" sldId="346"/>
            <ac:spMk id="17" creationId="{2DB5CBF9-56A3-407F-9DFC-43904E4B87C4}"/>
          </ac:spMkLst>
        </pc:spChg>
        <pc:spChg chg="mod">
          <ac:chgData name="Tsz Him SUEN" userId="da5993a8-f7f5-432e-85e3-268aabf1f3b0" providerId="ADAL" clId="{AEBCAD94-BEE7-8F4A-AB6C-64CCD90567B6}" dt="2019-05-08T06:07:28.364" v="1072" actId="164"/>
          <ac:spMkLst>
            <pc:docMk/>
            <pc:sldMk cId="3445176742" sldId="346"/>
            <ac:spMk id="18" creationId="{60D1D157-187D-43E7-A5F7-9F4B6D4AA32F}"/>
          </ac:spMkLst>
        </pc:spChg>
        <pc:spChg chg="mod">
          <ac:chgData name="Tsz Him SUEN" userId="da5993a8-f7f5-432e-85e3-268aabf1f3b0" providerId="ADAL" clId="{AEBCAD94-BEE7-8F4A-AB6C-64CCD90567B6}" dt="2019-05-08T06:07:28.364" v="1072" actId="164"/>
          <ac:spMkLst>
            <pc:docMk/>
            <pc:sldMk cId="3445176742" sldId="346"/>
            <ac:spMk id="20" creationId="{E75CB10C-891F-4365-BAF1-581EF4FF9C09}"/>
          </ac:spMkLst>
        </pc:spChg>
        <pc:spChg chg="mod">
          <ac:chgData name="Tsz Him SUEN" userId="da5993a8-f7f5-432e-85e3-268aabf1f3b0" providerId="ADAL" clId="{AEBCAD94-BEE7-8F4A-AB6C-64CCD90567B6}" dt="2019-05-08T06:07:23.576" v="1071" actId="164"/>
          <ac:spMkLst>
            <pc:docMk/>
            <pc:sldMk cId="3445176742" sldId="346"/>
            <ac:spMk id="23" creationId="{59C6A2CD-CE65-4374-8DB6-41E877CBA364}"/>
          </ac:spMkLst>
        </pc:spChg>
        <pc:grpChg chg="add mod">
          <ac:chgData name="Tsz Him SUEN" userId="da5993a8-f7f5-432e-85e3-268aabf1f3b0" providerId="ADAL" clId="{AEBCAD94-BEE7-8F4A-AB6C-64CCD90567B6}" dt="2019-05-08T06:07:23.576" v="1071" actId="164"/>
          <ac:grpSpMkLst>
            <pc:docMk/>
            <pc:sldMk cId="3445176742" sldId="346"/>
            <ac:grpSpMk id="4" creationId="{193661C4-5AC2-2042-B0C4-9118976EFBF9}"/>
          </ac:grpSpMkLst>
        </pc:grpChg>
        <pc:grpChg chg="add mod">
          <ac:chgData name="Tsz Him SUEN" userId="da5993a8-f7f5-432e-85e3-268aabf1f3b0" providerId="ADAL" clId="{AEBCAD94-BEE7-8F4A-AB6C-64CCD90567B6}" dt="2019-05-08T06:07:28.364" v="1072" actId="164"/>
          <ac:grpSpMkLst>
            <pc:docMk/>
            <pc:sldMk cId="3445176742" sldId="346"/>
            <ac:grpSpMk id="5" creationId="{D5631595-03AE-B040-8110-67E414CC6BD5}"/>
          </ac:grpSpMkLst>
        </pc:grpChg>
        <pc:picChg chg="mod">
          <ac:chgData name="Tsz Him SUEN" userId="da5993a8-f7f5-432e-85e3-268aabf1f3b0" providerId="ADAL" clId="{AEBCAD94-BEE7-8F4A-AB6C-64CCD90567B6}" dt="2019-05-08T06:07:23.576" v="1071" actId="164"/>
          <ac:picMkLst>
            <pc:docMk/>
            <pc:sldMk cId="3445176742" sldId="346"/>
            <ac:picMk id="3" creationId="{17799CBF-4C59-4D43-A940-A0024721ADFC}"/>
          </ac:picMkLst>
        </pc:picChg>
        <pc:picChg chg="mod">
          <ac:chgData name="Tsz Him SUEN" userId="da5993a8-f7f5-432e-85e3-268aabf1f3b0" providerId="ADAL" clId="{AEBCAD94-BEE7-8F4A-AB6C-64CCD90567B6}" dt="2019-05-08T06:07:28.364" v="1072" actId="164"/>
          <ac:picMkLst>
            <pc:docMk/>
            <pc:sldMk cId="3445176742" sldId="346"/>
            <ac:picMk id="9218" creationId="{AADD88D7-E386-4383-8B2C-04F228FC9D3D}"/>
          </ac:picMkLst>
        </pc:picChg>
      </pc:sldChg>
      <pc:sldChg chg="addSp delSp modSp addAnim delAnim modAnim">
        <pc:chgData name="Tsz Him SUEN" userId="da5993a8-f7f5-432e-85e3-268aabf1f3b0" providerId="ADAL" clId="{AEBCAD94-BEE7-8F4A-AB6C-64CCD90567B6}" dt="2019-05-08T06:15:42.529" v="1255" actId="20577"/>
        <pc:sldMkLst>
          <pc:docMk/>
          <pc:sldMk cId="228477441" sldId="347"/>
        </pc:sldMkLst>
        <pc:spChg chg="add mod">
          <ac:chgData name="Tsz Him SUEN" userId="da5993a8-f7f5-432e-85e3-268aabf1f3b0" providerId="ADAL" clId="{AEBCAD94-BEE7-8F4A-AB6C-64CCD90567B6}" dt="2019-05-08T06:12:02.492" v="1103" actId="164"/>
          <ac:spMkLst>
            <pc:docMk/>
            <pc:sldMk cId="228477441" sldId="347"/>
            <ac:spMk id="3" creationId="{622BB16A-3341-D24E-AB98-1C8A20BD978C}"/>
          </ac:spMkLst>
        </pc:spChg>
        <pc:spChg chg="mod">
          <ac:chgData name="Tsz Him SUEN" userId="da5993a8-f7f5-432e-85e3-268aabf1f3b0" providerId="ADAL" clId="{AEBCAD94-BEE7-8F4A-AB6C-64CCD90567B6}" dt="2019-05-08T06:08:09.536" v="1078" actId="164"/>
          <ac:spMkLst>
            <pc:docMk/>
            <pc:sldMk cId="228477441" sldId="347"/>
            <ac:spMk id="8" creationId="{0C81596B-8B18-41CC-9B0C-1D0C91ABDD4E}"/>
          </ac:spMkLst>
        </pc:spChg>
        <pc:spChg chg="mod">
          <ac:chgData name="Tsz Him SUEN" userId="da5993a8-f7f5-432e-85e3-268aabf1f3b0" providerId="ADAL" clId="{AEBCAD94-BEE7-8F4A-AB6C-64CCD90567B6}" dt="2019-05-08T06:08:13.127" v="1079" actId="164"/>
          <ac:spMkLst>
            <pc:docMk/>
            <pc:sldMk cId="228477441" sldId="347"/>
            <ac:spMk id="9" creationId="{CDAD92C5-6259-482F-8AF5-266DB063416C}"/>
          </ac:spMkLst>
        </pc:spChg>
        <pc:spChg chg="add del mod">
          <ac:chgData name="Tsz Him SUEN" userId="da5993a8-f7f5-432e-85e3-268aabf1f3b0" providerId="ADAL" clId="{AEBCAD94-BEE7-8F4A-AB6C-64CCD90567B6}" dt="2019-05-08T06:15:42.529" v="1255" actId="20577"/>
          <ac:spMkLst>
            <pc:docMk/>
            <pc:sldMk cId="228477441" sldId="347"/>
            <ac:spMk id="11" creationId="{8214761A-80AB-4EF4-85C9-FD6D1B645991}"/>
          </ac:spMkLst>
        </pc:spChg>
        <pc:spChg chg="add mod">
          <ac:chgData name="Tsz Him SUEN" userId="da5993a8-f7f5-432e-85e3-268aabf1f3b0" providerId="ADAL" clId="{AEBCAD94-BEE7-8F4A-AB6C-64CCD90567B6}" dt="2019-05-08T06:15:12.853" v="1244" actId="20577"/>
          <ac:spMkLst>
            <pc:docMk/>
            <pc:sldMk cId="228477441" sldId="347"/>
            <ac:spMk id="13" creationId="{ED87FE90-8E64-E949-8CB0-7A2111DEB5A2}"/>
          </ac:spMkLst>
        </pc:spChg>
        <pc:spChg chg="add mod">
          <ac:chgData name="Tsz Him SUEN" userId="da5993a8-f7f5-432e-85e3-268aabf1f3b0" providerId="ADAL" clId="{AEBCAD94-BEE7-8F4A-AB6C-64CCD90567B6}" dt="2019-05-08T06:15:22.029" v="1245" actId="164"/>
          <ac:spMkLst>
            <pc:docMk/>
            <pc:sldMk cId="228477441" sldId="347"/>
            <ac:spMk id="24" creationId="{19EE26AB-9A11-8F44-92E2-0B229F77AFA1}"/>
          </ac:spMkLst>
        </pc:spChg>
        <pc:spChg chg="add mod">
          <ac:chgData name="Tsz Him SUEN" userId="da5993a8-f7f5-432e-85e3-268aabf1f3b0" providerId="ADAL" clId="{AEBCAD94-BEE7-8F4A-AB6C-64CCD90567B6}" dt="2019-05-08T06:15:22.029" v="1245" actId="164"/>
          <ac:spMkLst>
            <pc:docMk/>
            <pc:sldMk cId="228477441" sldId="347"/>
            <ac:spMk id="25" creationId="{57258051-8C5F-B848-B55E-8AE6C7DCB88A}"/>
          </ac:spMkLst>
        </pc:spChg>
        <pc:grpChg chg="add mod">
          <ac:chgData name="Tsz Him SUEN" userId="da5993a8-f7f5-432e-85e3-268aabf1f3b0" providerId="ADAL" clId="{AEBCAD94-BEE7-8F4A-AB6C-64CCD90567B6}" dt="2019-05-08T06:08:09.536" v="1078" actId="164"/>
          <ac:grpSpMkLst>
            <pc:docMk/>
            <pc:sldMk cId="228477441" sldId="347"/>
            <ac:grpSpMk id="15" creationId="{537AC352-76D3-104C-8D58-8E5807DB049C}"/>
          </ac:grpSpMkLst>
        </pc:grpChg>
        <pc:grpChg chg="add mod">
          <ac:chgData name="Tsz Him SUEN" userId="da5993a8-f7f5-432e-85e3-268aabf1f3b0" providerId="ADAL" clId="{AEBCAD94-BEE7-8F4A-AB6C-64CCD90567B6}" dt="2019-05-08T06:11:29.890" v="1100" actId="164"/>
          <ac:grpSpMkLst>
            <pc:docMk/>
            <pc:sldMk cId="228477441" sldId="347"/>
            <ac:grpSpMk id="16" creationId="{D85A7E98-12A5-1146-B486-8E4FD37B4BE1}"/>
          </ac:grpSpMkLst>
        </pc:grpChg>
        <pc:grpChg chg="add mod">
          <ac:chgData name="Tsz Him SUEN" userId="da5993a8-f7f5-432e-85e3-268aabf1f3b0" providerId="ADAL" clId="{AEBCAD94-BEE7-8F4A-AB6C-64CCD90567B6}" dt="2019-05-08T06:15:11.649" v="1243" actId="20577"/>
          <ac:grpSpMkLst>
            <pc:docMk/>
            <pc:sldMk cId="228477441" sldId="347"/>
            <ac:grpSpMk id="17" creationId="{033DDF22-F3E2-1E42-AADB-90D7CA27014A}"/>
          </ac:grpSpMkLst>
        </pc:grpChg>
        <pc:grpChg chg="add mod">
          <ac:chgData name="Tsz Him SUEN" userId="da5993a8-f7f5-432e-85e3-268aabf1f3b0" providerId="ADAL" clId="{AEBCAD94-BEE7-8F4A-AB6C-64CCD90567B6}" dt="2019-05-08T06:15:22.029" v="1245" actId="164"/>
          <ac:grpSpMkLst>
            <pc:docMk/>
            <pc:sldMk cId="228477441" sldId="347"/>
            <ac:grpSpMk id="18" creationId="{DB17D657-D568-A545-9609-58345A29FA4D}"/>
          </ac:grpSpMkLst>
        </pc:grpChg>
        <pc:grpChg chg="add mod">
          <ac:chgData name="Tsz Him SUEN" userId="da5993a8-f7f5-432e-85e3-268aabf1f3b0" providerId="ADAL" clId="{AEBCAD94-BEE7-8F4A-AB6C-64CCD90567B6}" dt="2019-05-08T06:15:22.029" v="1245" actId="164"/>
          <ac:grpSpMkLst>
            <pc:docMk/>
            <pc:sldMk cId="228477441" sldId="347"/>
            <ac:grpSpMk id="26" creationId="{D3ED3472-F386-4D42-9442-E6AC8B4BB5DB}"/>
          </ac:grpSpMkLst>
        </pc:grpChg>
        <pc:picChg chg="mod">
          <ac:chgData name="Tsz Him SUEN" userId="da5993a8-f7f5-432e-85e3-268aabf1f3b0" providerId="ADAL" clId="{AEBCAD94-BEE7-8F4A-AB6C-64CCD90567B6}" dt="2019-05-08T06:08:13.127" v="1079" actId="164"/>
          <ac:picMkLst>
            <pc:docMk/>
            <pc:sldMk cId="228477441" sldId="347"/>
            <ac:picMk id="4" creationId="{7032306D-296D-4CBB-9833-E817D8477056}"/>
          </ac:picMkLst>
        </pc:picChg>
        <pc:picChg chg="mod">
          <ac:chgData name="Tsz Him SUEN" userId="da5993a8-f7f5-432e-85e3-268aabf1f3b0" providerId="ADAL" clId="{AEBCAD94-BEE7-8F4A-AB6C-64CCD90567B6}" dt="2019-05-08T06:08:09.536" v="1078" actId="164"/>
          <ac:picMkLst>
            <pc:docMk/>
            <pc:sldMk cId="228477441" sldId="347"/>
            <ac:picMk id="7" creationId="{4342F42A-C193-4C73-A280-66535828422D}"/>
          </ac:picMkLst>
        </pc:picChg>
        <pc:cxnChg chg="add mod">
          <ac:chgData name="Tsz Him SUEN" userId="da5993a8-f7f5-432e-85e3-268aabf1f3b0" providerId="ADAL" clId="{AEBCAD94-BEE7-8F4A-AB6C-64CCD90567B6}" dt="2019-05-08T06:15:11.649" v="1243" actId="20577"/>
          <ac:cxnSpMkLst>
            <pc:docMk/>
            <pc:sldMk cId="228477441" sldId="347"/>
            <ac:cxnSpMk id="6" creationId="{3A8B7024-C2E9-E047-AD7B-89DD7DAD59BA}"/>
          </ac:cxnSpMkLst>
        </pc:cxnChg>
        <pc:cxnChg chg="add mod">
          <ac:chgData name="Tsz Him SUEN" userId="da5993a8-f7f5-432e-85e3-268aabf1f3b0" providerId="ADAL" clId="{AEBCAD94-BEE7-8F4A-AB6C-64CCD90567B6}" dt="2019-05-08T06:15:22.029" v="1245" actId="164"/>
          <ac:cxnSpMkLst>
            <pc:docMk/>
            <pc:sldMk cId="228477441" sldId="347"/>
            <ac:cxnSpMk id="19" creationId="{EAAC6244-1DCE-4742-81F2-4D310E76F8BA}"/>
          </ac:cxnSpMkLst>
        </pc:cxnChg>
        <pc:cxnChg chg="add mod">
          <ac:chgData name="Tsz Him SUEN" userId="da5993a8-f7f5-432e-85e3-268aabf1f3b0" providerId="ADAL" clId="{AEBCAD94-BEE7-8F4A-AB6C-64CCD90567B6}" dt="2019-05-08T06:15:22.029" v="1245" actId="164"/>
          <ac:cxnSpMkLst>
            <pc:docMk/>
            <pc:sldMk cId="228477441" sldId="347"/>
            <ac:cxnSpMk id="23" creationId="{3ECF3608-F19D-7B4F-9586-9871361012D3}"/>
          </ac:cxnSpMkLst>
        </pc:cxnChg>
      </pc:sldChg>
      <pc:sldChg chg="addSp delSp modSp modAnim">
        <pc:chgData name="Tsz Him SUEN" userId="da5993a8-f7f5-432e-85e3-268aabf1f3b0" providerId="ADAL" clId="{AEBCAD94-BEE7-8F4A-AB6C-64CCD90567B6}" dt="2019-05-08T06:18:02.343" v="1281"/>
        <pc:sldMkLst>
          <pc:docMk/>
          <pc:sldMk cId="2131798245" sldId="348"/>
        </pc:sldMkLst>
        <pc:spChg chg="mod">
          <ac:chgData name="Tsz Him SUEN" userId="da5993a8-f7f5-432e-85e3-268aabf1f3b0" providerId="ADAL" clId="{AEBCAD94-BEE7-8F4A-AB6C-64CCD90567B6}" dt="2019-05-08T05:59:03.530" v="1004" actId="20577"/>
          <ac:spMkLst>
            <pc:docMk/>
            <pc:sldMk cId="2131798245" sldId="348"/>
            <ac:spMk id="2" creationId="{0C13FA11-E8EB-40E9-AC0E-C17A3306EE45}"/>
          </ac:spMkLst>
        </pc:spChg>
        <pc:spChg chg="del">
          <ac:chgData name="Tsz Him SUEN" userId="da5993a8-f7f5-432e-85e3-268aabf1f3b0" providerId="ADAL" clId="{AEBCAD94-BEE7-8F4A-AB6C-64CCD90567B6}" dt="2019-05-08T04:28:51.548" v="186" actId="478"/>
          <ac:spMkLst>
            <pc:docMk/>
            <pc:sldMk cId="2131798245" sldId="348"/>
            <ac:spMk id="3" creationId="{853A8A0E-AF27-4802-8CA5-2F4964010A11}"/>
          </ac:spMkLst>
        </pc:spChg>
        <pc:spChg chg="add mod">
          <ac:chgData name="Tsz Him SUEN" userId="da5993a8-f7f5-432e-85e3-268aabf1f3b0" providerId="ADAL" clId="{AEBCAD94-BEE7-8F4A-AB6C-64CCD90567B6}" dt="2019-05-08T06:09:19.720" v="1083" actId="164"/>
          <ac:spMkLst>
            <pc:docMk/>
            <pc:sldMk cId="2131798245" sldId="348"/>
            <ac:spMk id="6" creationId="{107C2FC6-B0C6-5E48-82AC-B6371831538C}"/>
          </ac:spMkLst>
        </pc:spChg>
        <pc:spChg chg="add mod">
          <ac:chgData name="Tsz Him SUEN" userId="da5993a8-f7f5-432e-85e3-268aabf1f3b0" providerId="ADAL" clId="{AEBCAD94-BEE7-8F4A-AB6C-64CCD90567B6}" dt="2019-05-08T06:09:19.720" v="1083" actId="164"/>
          <ac:spMkLst>
            <pc:docMk/>
            <pc:sldMk cId="2131798245" sldId="348"/>
            <ac:spMk id="7" creationId="{0E822ECF-83E4-844D-81AB-6EA52B56FE38}"/>
          </ac:spMkLst>
        </pc:spChg>
        <pc:spChg chg="add mod">
          <ac:chgData name="Tsz Him SUEN" userId="da5993a8-f7f5-432e-85e3-268aabf1f3b0" providerId="ADAL" clId="{AEBCAD94-BEE7-8F4A-AB6C-64CCD90567B6}" dt="2019-05-08T06:09:19.720" v="1083" actId="164"/>
          <ac:spMkLst>
            <pc:docMk/>
            <pc:sldMk cId="2131798245" sldId="348"/>
            <ac:spMk id="8" creationId="{8EB9048B-83AF-7443-A7F0-59B7B96763BC}"/>
          </ac:spMkLst>
        </pc:spChg>
        <pc:spChg chg="add del">
          <ac:chgData name="Tsz Him SUEN" userId="da5993a8-f7f5-432e-85e3-268aabf1f3b0" providerId="ADAL" clId="{AEBCAD94-BEE7-8F4A-AB6C-64CCD90567B6}" dt="2019-05-08T04:13:39.993" v="69"/>
          <ac:spMkLst>
            <pc:docMk/>
            <pc:sldMk cId="2131798245" sldId="348"/>
            <ac:spMk id="9" creationId="{01A8D18C-75B1-C445-A262-5CF649776484}"/>
          </ac:spMkLst>
        </pc:spChg>
        <pc:spChg chg="add mod">
          <ac:chgData name="Tsz Him SUEN" userId="da5993a8-f7f5-432e-85e3-268aabf1f3b0" providerId="ADAL" clId="{AEBCAD94-BEE7-8F4A-AB6C-64CCD90567B6}" dt="2019-05-08T06:09:25.865" v="1084" actId="164"/>
          <ac:spMkLst>
            <pc:docMk/>
            <pc:sldMk cId="2131798245" sldId="348"/>
            <ac:spMk id="10" creationId="{EB1D9A99-98C1-084F-A62D-C6506FC67747}"/>
          </ac:spMkLst>
        </pc:spChg>
        <pc:spChg chg="add mod">
          <ac:chgData name="Tsz Him SUEN" userId="da5993a8-f7f5-432e-85e3-268aabf1f3b0" providerId="ADAL" clId="{AEBCAD94-BEE7-8F4A-AB6C-64CCD90567B6}" dt="2019-05-08T06:09:19.720" v="1083" actId="164"/>
          <ac:spMkLst>
            <pc:docMk/>
            <pc:sldMk cId="2131798245" sldId="348"/>
            <ac:spMk id="13" creationId="{4D5E2103-43CF-6D44-8804-E194F8E1B1E1}"/>
          </ac:spMkLst>
        </pc:spChg>
        <pc:spChg chg="add mod">
          <ac:chgData name="Tsz Him SUEN" userId="da5993a8-f7f5-432e-85e3-268aabf1f3b0" providerId="ADAL" clId="{AEBCAD94-BEE7-8F4A-AB6C-64CCD90567B6}" dt="2019-05-08T06:17:50.751" v="1278" actId="164"/>
          <ac:spMkLst>
            <pc:docMk/>
            <pc:sldMk cId="2131798245" sldId="348"/>
            <ac:spMk id="35" creationId="{57258BDF-E0E6-8F4A-B065-13BF8E781D48}"/>
          </ac:spMkLst>
        </pc:spChg>
        <pc:spChg chg="add mod">
          <ac:chgData name="Tsz Him SUEN" userId="da5993a8-f7f5-432e-85e3-268aabf1f3b0" providerId="ADAL" clId="{AEBCAD94-BEE7-8F4A-AB6C-64CCD90567B6}" dt="2019-05-08T06:17:50.751" v="1278" actId="164"/>
          <ac:spMkLst>
            <pc:docMk/>
            <pc:sldMk cId="2131798245" sldId="348"/>
            <ac:spMk id="36" creationId="{3C750073-4289-884C-BA09-BEC570DC335C}"/>
          </ac:spMkLst>
        </pc:spChg>
        <pc:spChg chg="add mod">
          <ac:chgData name="Tsz Him SUEN" userId="da5993a8-f7f5-432e-85e3-268aabf1f3b0" providerId="ADAL" clId="{AEBCAD94-BEE7-8F4A-AB6C-64CCD90567B6}" dt="2019-05-08T06:17:55.176" v="1279" actId="164"/>
          <ac:spMkLst>
            <pc:docMk/>
            <pc:sldMk cId="2131798245" sldId="348"/>
            <ac:spMk id="39" creationId="{E4AF240B-9AED-7E43-AEA4-C736BD8C735C}"/>
          </ac:spMkLst>
        </pc:spChg>
        <pc:spChg chg="add mod">
          <ac:chgData name="Tsz Him SUEN" userId="da5993a8-f7f5-432e-85e3-268aabf1f3b0" providerId="ADAL" clId="{AEBCAD94-BEE7-8F4A-AB6C-64CCD90567B6}" dt="2019-05-08T06:17:55.176" v="1279" actId="164"/>
          <ac:spMkLst>
            <pc:docMk/>
            <pc:sldMk cId="2131798245" sldId="348"/>
            <ac:spMk id="40" creationId="{AFDF0DCB-4353-9D46-AA89-166E141A33FC}"/>
          </ac:spMkLst>
        </pc:spChg>
        <pc:spChg chg="add mod">
          <ac:chgData name="Tsz Him SUEN" userId="da5993a8-f7f5-432e-85e3-268aabf1f3b0" providerId="ADAL" clId="{AEBCAD94-BEE7-8F4A-AB6C-64CCD90567B6}" dt="2019-05-08T06:17:55.176" v="1279" actId="164"/>
          <ac:spMkLst>
            <pc:docMk/>
            <pc:sldMk cId="2131798245" sldId="348"/>
            <ac:spMk id="43" creationId="{7AADC683-9535-0F40-9EEA-8E18EB34433C}"/>
          </ac:spMkLst>
        </pc:spChg>
        <pc:spChg chg="add mod">
          <ac:chgData name="Tsz Him SUEN" userId="da5993a8-f7f5-432e-85e3-268aabf1f3b0" providerId="ADAL" clId="{AEBCAD94-BEE7-8F4A-AB6C-64CCD90567B6}" dt="2019-05-08T06:17:55.176" v="1279" actId="164"/>
          <ac:spMkLst>
            <pc:docMk/>
            <pc:sldMk cId="2131798245" sldId="348"/>
            <ac:spMk id="44" creationId="{C4E8C7F8-727D-FB49-BD86-BC99425E3A13}"/>
          </ac:spMkLst>
        </pc:spChg>
        <pc:spChg chg="add mod">
          <ac:chgData name="Tsz Him SUEN" userId="da5993a8-f7f5-432e-85e3-268aabf1f3b0" providerId="ADAL" clId="{AEBCAD94-BEE7-8F4A-AB6C-64CCD90567B6}" dt="2019-05-08T06:17:50.751" v="1278" actId="164"/>
          <ac:spMkLst>
            <pc:docMk/>
            <pc:sldMk cId="2131798245" sldId="348"/>
            <ac:spMk id="47" creationId="{2D2438E6-35D1-0C43-90FE-7EC77DBAA18B}"/>
          </ac:spMkLst>
        </pc:spChg>
        <pc:spChg chg="add mod">
          <ac:chgData name="Tsz Him SUEN" userId="da5993a8-f7f5-432e-85e3-268aabf1f3b0" providerId="ADAL" clId="{AEBCAD94-BEE7-8F4A-AB6C-64CCD90567B6}" dt="2019-05-08T06:17:50.751" v="1278" actId="164"/>
          <ac:spMkLst>
            <pc:docMk/>
            <pc:sldMk cId="2131798245" sldId="348"/>
            <ac:spMk id="48" creationId="{1873BF3C-7EA0-614F-A6D1-DB400B9FB203}"/>
          </ac:spMkLst>
        </pc:spChg>
        <pc:spChg chg="add mod">
          <ac:chgData name="Tsz Him SUEN" userId="da5993a8-f7f5-432e-85e3-268aabf1f3b0" providerId="ADAL" clId="{AEBCAD94-BEE7-8F4A-AB6C-64CCD90567B6}" dt="2019-05-08T06:17:50.751" v="1278" actId="164"/>
          <ac:spMkLst>
            <pc:docMk/>
            <pc:sldMk cId="2131798245" sldId="348"/>
            <ac:spMk id="51" creationId="{DF6A7778-5DA5-674F-9C20-FBD086CA85A2}"/>
          </ac:spMkLst>
        </pc:spChg>
        <pc:spChg chg="add mod">
          <ac:chgData name="Tsz Him SUEN" userId="da5993a8-f7f5-432e-85e3-268aabf1f3b0" providerId="ADAL" clId="{AEBCAD94-BEE7-8F4A-AB6C-64CCD90567B6}" dt="2019-05-08T06:17:50.751" v="1278" actId="164"/>
          <ac:spMkLst>
            <pc:docMk/>
            <pc:sldMk cId="2131798245" sldId="348"/>
            <ac:spMk id="52" creationId="{794DD3D3-B5C9-6540-B08D-B697BD9101A9}"/>
          </ac:spMkLst>
        </pc:spChg>
        <pc:spChg chg="add mod">
          <ac:chgData name="Tsz Him SUEN" userId="da5993a8-f7f5-432e-85e3-268aabf1f3b0" providerId="ADAL" clId="{AEBCAD94-BEE7-8F4A-AB6C-64CCD90567B6}" dt="2019-05-08T06:17:55.176" v="1279" actId="164"/>
          <ac:spMkLst>
            <pc:docMk/>
            <pc:sldMk cId="2131798245" sldId="348"/>
            <ac:spMk id="57" creationId="{22DC7502-509A-A047-A718-6027AADD79CE}"/>
          </ac:spMkLst>
        </pc:spChg>
        <pc:spChg chg="add mod">
          <ac:chgData name="Tsz Him SUEN" userId="da5993a8-f7f5-432e-85e3-268aabf1f3b0" providerId="ADAL" clId="{AEBCAD94-BEE7-8F4A-AB6C-64CCD90567B6}" dt="2019-05-08T06:17:55.176" v="1279" actId="164"/>
          <ac:spMkLst>
            <pc:docMk/>
            <pc:sldMk cId="2131798245" sldId="348"/>
            <ac:spMk id="58" creationId="{45E002FB-2D84-1943-AF5F-B489153B631D}"/>
          </ac:spMkLst>
        </pc:spChg>
        <pc:grpChg chg="add mod">
          <ac:chgData name="Tsz Him SUEN" userId="da5993a8-f7f5-432e-85e3-268aabf1f3b0" providerId="ADAL" clId="{AEBCAD94-BEE7-8F4A-AB6C-64CCD90567B6}" dt="2019-05-08T06:17:50.751" v="1278" actId="164"/>
          <ac:grpSpMkLst>
            <pc:docMk/>
            <pc:sldMk cId="2131798245" sldId="348"/>
            <ac:grpSpMk id="31" creationId="{5C96F9FF-FC37-604F-9660-2DC64812B04A}"/>
          </ac:grpSpMkLst>
        </pc:grpChg>
        <pc:grpChg chg="add mod">
          <ac:chgData name="Tsz Him SUEN" userId="da5993a8-f7f5-432e-85e3-268aabf1f3b0" providerId="ADAL" clId="{AEBCAD94-BEE7-8F4A-AB6C-64CCD90567B6}" dt="2019-05-08T06:17:55.176" v="1279" actId="164"/>
          <ac:grpSpMkLst>
            <pc:docMk/>
            <pc:sldMk cId="2131798245" sldId="348"/>
            <ac:grpSpMk id="32" creationId="{404B5552-B508-C34E-9638-106DDEF298EA}"/>
          </ac:grpSpMkLst>
        </pc:grpChg>
        <pc:grpChg chg="add mod">
          <ac:chgData name="Tsz Him SUEN" userId="da5993a8-f7f5-432e-85e3-268aabf1f3b0" providerId="ADAL" clId="{AEBCAD94-BEE7-8F4A-AB6C-64CCD90567B6}" dt="2019-05-08T06:17:50.751" v="1278" actId="164"/>
          <ac:grpSpMkLst>
            <pc:docMk/>
            <pc:sldMk cId="2131798245" sldId="348"/>
            <ac:grpSpMk id="59" creationId="{E59EBAD8-80D7-D543-9832-8341461348F2}"/>
          </ac:grpSpMkLst>
        </pc:grpChg>
        <pc:grpChg chg="add mod">
          <ac:chgData name="Tsz Him SUEN" userId="da5993a8-f7f5-432e-85e3-268aabf1f3b0" providerId="ADAL" clId="{AEBCAD94-BEE7-8F4A-AB6C-64CCD90567B6}" dt="2019-05-08T06:17:55.176" v="1279" actId="164"/>
          <ac:grpSpMkLst>
            <pc:docMk/>
            <pc:sldMk cId="2131798245" sldId="348"/>
            <ac:grpSpMk id="60" creationId="{E26AF2BF-E17F-0642-8146-AB376BF9766B}"/>
          </ac:grpSpMkLst>
        </pc:grpChg>
        <pc:picChg chg="add mod modCrop">
          <ac:chgData name="Tsz Him SUEN" userId="da5993a8-f7f5-432e-85e3-268aabf1f3b0" providerId="ADAL" clId="{AEBCAD94-BEE7-8F4A-AB6C-64CCD90567B6}" dt="2019-05-08T06:09:19.720" v="1083" actId="164"/>
          <ac:picMkLst>
            <pc:docMk/>
            <pc:sldMk cId="2131798245" sldId="348"/>
            <ac:picMk id="5" creationId="{DD8DEB20-C5F3-A74D-B6E5-FF1E1774E885}"/>
          </ac:picMkLst>
        </pc:picChg>
        <pc:picChg chg="add mod modCrop">
          <ac:chgData name="Tsz Him SUEN" userId="da5993a8-f7f5-432e-85e3-268aabf1f3b0" providerId="ADAL" clId="{AEBCAD94-BEE7-8F4A-AB6C-64CCD90567B6}" dt="2019-05-08T06:09:19.720" v="1083" actId="164"/>
          <ac:picMkLst>
            <pc:docMk/>
            <pc:sldMk cId="2131798245" sldId="348"/>
            <ac:picMk id="12" creationId="{636C7EC0-5D72-6C41-81B5-7893A179807B}"/>
          </ac:picMkLst>
        </pc:picChg>
        <pc:picChg chg="add mod modCrop">
          <ac:chgData name="Tsz Him SUEN" userId="da5993a8-f7f5-432e-85e3-268aabf1f3b0" providerId="ADAL" clId="{AEBCAD94-BEE7-8F4A-AB6C-64CCD90567B6}" dt="2019-05-08T06:09:19.720" v="1083" actId="164"/>
          <ac:picMkLst>
            <pc:docMk/>
            <pc:sldMk cId="2131798245" sldId="348"/>
            <ac:picMk id="15" creationId="{CFDF6CD1-FD35-0248-939E-D31CDF86CBD2}"/>
          </ac:picMkLst>
        </pc:picChg>
        <pc:picChg chg="add mod">
          <ac:chgData name="Tsz Him SUEN" userId="da5993a8-f7f5-432e-85e3-268aabf1f3b0" providerId="ADAL" clId="{AEBCAD94-BEE7-8F4A-AB6C-64CCD90567B6}" dt="2019-05-08T06:09:25.865" v="1084" actId="164"/>
          <ac:picMkLst>
            <pc:docMk/>
            <pc:sldMk cId="2131798245" sldId="348"/>
            <ac:picMk id="17" creationId="{1C615663-17C8-F24F-BE06-8DC21F4D2763}"/>
          </ac:picMkLst>
        </pc:picChg>
        <pc:picChg chg="add mod">
          <ac:chgData name="Tsz Him SUEN" userId="da5993a8-f7f5-432e-85e3-268aabf1f3b0" providerId="ADAL" clId="{AEBCAD94-BEE7-8F4A-AB6C-64CCD90567B6}" dt="2019-05-08T06:09:25.865" v="1084" actId="164"/>
          <ac:picMkLst>
            <pc:docMk/>
            <pc:sldMk cId="2131798245" sldId="348"/>
            <ac:picMk id="28" creationId="{A1EA046C-E42C-434B-A4E7-831340A20F5A}"/>
          </ac:picMkLst>
        </pc:picChg>
        <pc:picChg chg="add mod">
          <ac:chgData name="Tsz Him SUEN" userId="da5993a8-f7f5-432e-85e3-268aabf1f3b0" providerId="ADAL" clId="{AEBCAD94-BEE7-8F4A-AB6C-64CCD90567B6}" dt="2019-05-08T06:09:25.865" v="1084" actId="164"/>
          <ac:picMkLst>
            <pc:docMk/>
            <pc:sldMk cId="2131798245" sldId="348"/>
            <ac:picMk id="30" creationId="{43D98DAC-8B97-3D44-858D-7A6702CCFF31}"/>
          </ac:picMkLst>
        </pc:picChg>
        <pc:cxnChg chg="add mod">
          <ac:chgData name="Tsz Him SUEN" userId="da5993a8-f7f5-432e-85e3-268aabf1f3b0" providerId="ADAL" clId="{AEBCAD94-BEE7-8F4A-AB6C-64CCD90567B6}" dt="2019-05-08T06:09:19.720" v="1083" actId="164"/>
          <ac:cxnSpMkLst>
            <pc:docMk/>
            <pc:sldMk cId="2131798245" sldId="348"/>
            <ac:cxnSpMk id="19" creationId="{0812714F-9F37-9049-A505-B0A42213CC0A}"/>
          </ac:cxnSpMkLst>
        </pc:cxnChg>
        <pc:cxnChg chg="add mod">
          <ac:chgData name="Tsz Him SUEN" userId="da5993a8-f7f5-432e-85e3-268aabf1f3b0" providerId="ADAL" clId="{AEBCAD94-BEE7-8F4A-AB6C-64CCD90567B6}" dt="2019-05-08T04:27:02.267" v="142" actId="14100"/>
          <ac:cxnSpMkLst>
            <pc:docMk/>
            <pc:sldMk cId="2131798245" sldId="348"/>
            <ac:cxnSpMk id="21" creationId="{98C5940F-6CAA-5641-BE30-7D0953E6EC88}"/>
          </ac:cxnSpMkLst>
        </pc:cxnChg>
        <pc:cxnChg chg="add mod">
          <ac:chgData name="Tsz Him SUEN" userId="da5993a8-f7f5-432e-85e3-268aabf1f3b0" providerId="ADAL" clId="{AEBCAD94-BEE7-8F4A-AB6C-64CCD90567B6}" dt="2019-05-08T04:27:11.158" v="151" actId="1036"/>
          <ac:cxnSpMkLst>
            <pc:docMk/>
            <pc:sldMk cId="2131798245" sldId="348"/>
            <ac:cxnSpMk id="26" creationId="{8A12CFCF-A012-464D-B26A-B1ACE88A0717}"/>
          </ac:cxnSpMkLst>
        </pc:cxnChg>
        <pc:cxnChg chg="add mod">
          <ac:chgData name="Tsz Him SUEN" userId="da5993a8-f7f5-432e-85e3-268aabf1f3b0" providerId="ADAL" clId="{AEBCAD94-BEE7-8F4A-AB6C-64CCD90567B6}" dt="2019-05-08T06:17:50.751" v="1278" actId="164"/>
          <ac:cxnSpMkLst>
            <pc:docMk/>
            <pc:sldMk cId="2131798245" sldId="348"/>
            <ac:cxnSpMk id="33" creationId="{A0587D92-1D17-2D4A-8964-2F1B040A678D}"/>
          </ac:cxnSpMkLst>
        </pc:cxnChg>
        <pc:cxnChg chg="add mod">
          <ac:chgData name="Tsz Him SUEN" userId="da5993a8-f7f5-432e-85e3-268aabf1f3b0" providerId="ADAL" clId="{AEBCAD94-BEE7-8F4A-AB6C-64CCD90567B6}" dt="2019-05-08T06:17:50.751" v="1278" actId="164"/>
          <ac:cxnSpMkLst>
            <pc:docMk/>
            <pc:sldMk cId="2131798245" sldId="348"/>
            <ac:cxnSpMk id="34" creationId="{0E81745D-F07B-C74D-AA29-884D9C5D4BD4}"/>
          </ac:cxnSpMkLst>
        </pc:cxnChg>
        <pc:cxnChg chg="add mod">
          <ac:chgData name="Tsz Him SUEN" userId="da5993a8-f7f5-432e-85e3-268aabf1f3b0" providerId="ADAL" clId="{AEBCAD94-BEE7-8F4A-AB6C-64CCD90567B6}" dt="2019-05-08T06:17:55.176" v="1279" actId="164"/>
          <ac:cxnSpMkLst>
            <pc:docMk/>
            <pc:sldMk cId="2131798245" sldId="348"/>
            <ac:cxnSpMk id="37" creationId="{87CCA3DE-BB2B-4247-9B52-DE8AA565DD30}"/>
          </ac:cxnSpMkLst>
        </pc:cxnChg>
        <pc:cxnChg chg="add mod">
          <ac:chgData name="Tsz Him SUEN" userId="da5993a8-f7f5-432e-85e3-268aabf1f3b0" providerId="ADAL" clId="{AEBCAD94-BEE7-8F4A-AB6C-64CCD90567B6}" dt="2019-05-08T06:17:55.176" v="1279" actId="164"/>
          <ac:cxnSpMkLst>
            <pc:docMk/>
            <pc:sldMk cId="2131798245" sldId="348"/>
            <ac:cxnSpMk id="38" creationId="{8FE9D859-C79A-4648-88B0-7BCA6D8198D5}"/>
          </ac:cxnSpMkLst>
        </pc:cxnChg>
        <pc:cxnChg chg="add mod">
          <ac:chgData name="Tsz Him SUEN" userId="da5993a8-f7f5-432e-85e3-268aabf1f3b0" providerId="ADAL" clId="{AEBCAD94-BEE7-8F4A-AB6C-64CCD90567B6}" dt="2019-05-08T06:17:55.176" v="1279" actId="164"/>
          <ac:cxnSpMkLst>
            <pc:docMk/>
            <pc:sldMk cId="2131798245" sldId="348"/>
            <ac:cxnSpMk id="41" creationId="{7AA083FD-077D-4E48-99AC-BA0EF97733A1}"/>
          </ac:cxnSpMkLst>
        </pc:cxnChg>
        <pc:cxnChg chg="add mod">
          <ac:chgData name="Tsz Him SUEN" userId="da5993a8-f7f5-432e-85e3-268aabf1f3b0" providerId="ADAL" clId="{AEBCAD94-BEE7-8F4A-AB6C-64CCD90567B6}" dt="2019-05-08T06:17:55.176" v="1279" actId="164"/>
          <ac:cxnSpMkLst>
            <pc:docMk/>
            <pc:sldMk cId="2131798245" sldId="348"/>
            <ac:cxnSpMk id="42" creationId="{8297090F-5EA8-EE41-A644-AD34D79CC9D6}"/>
          </ac:cxnSpMkLst>
        </pc:cxnChg>
        <pc:cxnChg chg="add mod">
          <ac:chgData name="Tsz Him SUEN" userId="da5993a8-f7f5-432e-85e3-268aabf1f3b0" providerId="ADAL" clId="{AEBCAD94-BEE7-8F4A-AB6C-64CCD90567B6}" dt="2019-05-08T06:17:50.751" v="1278" actId="164"/>
          <ac:cxnSpMkLst>
            <pc:docMk/>
            <pc:sldMk cId="2131798245" sldId="348"/>
            <ac:cxnSpMk id="45" creationId="{3C558E74-0E80-0F49-B49F-3B620EAE847B}"/>
          </ac:cxnSpMkLst>
        </pc:cxnChg>
        <pc:cxnChg chg="add mod">
          <ac:chgData name="Tsz Him SUEN" userId="da5993a8-f7f5-432e-85e3-268aabf1f3b0" providerId="ADAL" clId="{AEBCAD94-BEE7-8F4A-AB6C-64CCD90567B6}" dt="2019-05-08T06:17:50.751" v="1278" actId="164"/>
          <ac:cxnSpMkLst>
            <pc:docMk/>
            <pc:sldMk cId="2131798245" sldId="348"/>
            <ac:cxnSpMk id="46" creationId="{07879D95-07E7-D042-81E7-53841B622657}"/>
          </ac:cxnSpMkLst>
        </pc:cxnChg>
        <pc:cxnChg chg="add mod">
          <ac:chgData name="Tsz Him SUEN" userId="da5993a8-f7f5-432e-85e3-268aabf1f3b0" providerId="ADAL" clId="{AEBCAD94-BEE7-8F4A-AB6C-64CCD90567B6}" dt="2019-05-08T06:17:50.751" v="1278" actId="164"/>
          <ac:cxnSpMkLst>
            <pc:docMk/>
            <pc:sldMk cId="2131798245" sldId="348"/>
            <ac:cxnSpMk id="49" creationId="{B1DBD97F-542C-2E46-B091-F1BF51EBEC89}"/>
          </ac:cxnSpMkLst>
        </pc:cxnChg>
        <pc:cxnChg chg="add mod">
          <ac:chgData name="Tsz Him SUEN" userId="da5993a8-f7f5-432e-85e3-268aabf1f3b0" providerId="ADAL" clId="{AEBCAD94-BEE7-8F4A-AB6C-64CCD90567B6}" dt="2019-05-08T06:17:50.751" v="1278" actId="164"/>
          <ac:cxnSpMkLst>
            <pc:docMk/>
            <pc:sldMk cId="2131798245" sldId="348"/>
            <ac:cxnSpMk id="50" creationId="{B338930A-829F-3446-A71C-E719BCFC056E}"/>
          </ac:cxnSpMkLst>
        </pc:cxnChg>
        <pc:cxnChg chg="add mod">
          <ac:chgData name="Tsz Him SUEN" userId="da5993a8-f7f5-432e-85e3-268aabf1f3b0" providerId="ADAL" clId="{AEBCAD94-BEE7-8F4A-AB6C-64CCD90567B6}" dt="2019-05-08T06:17:55.176" v="1279" actId="164"/>
          <ac:cxnSpMkLst>
            <pc:docMk/>
            <pc:sldMk cId="2131798245" sldId="348"/>
            <ac:cxnSpMk id="55" creationId="{48127A84-A752-CC4B-A258-8D7EDB9D4759}"/>
          </ac:cxnSpMkLst>
        </pc:cxnChg>
        <pc:cxnChg chg="add mod">
          <ac:chgData name="Tsz Him SUEN" userId="da5993a8-f7f5-432e-85e3-268aabf1f3b0" providerId="ADAL" clId="{AEBCAD94-BEE7-8F4A-AB6C-64CCD90567B6}" dt="2019-05-08T06:17:55.176" v="1279" actId="164"/>
          <ac:cxnSpMkLst>
            <pc:docMk/>
            <pc:sldMk cId="2131798245" sldId="348"/>
            <ac:cxnSpMk id="56" creationId="{1215FA6C-9C22-2A4B-952F-E3DEB8E0E1FF}"/>
          </ac:cxnSpMkLst>
        </pc:cxnChg>
      </pc:sldChg>
      <pc:sldChg chg="addSp delSp modSp modAnim">
        <pc:chgData name="Tsz Him SUEN" userId="da5993a8-f7f5-432e-85e3-268aabf1f3b0" providerId="ADAL" clId="{AEBCAD94-BEE7-8F4A-AB6C-64CCD90567B6}" dt="2019-05-08T06:10:57.936" v="1096"/>
        <pc:sldMkLst>
          <pc:docMk/>
          <pc:sldMk cId="3272287945" sldId="349"/>
        </pc:sldMkLst>
        <pc:spChg chg="add mod">
          <ac:chgData name="Tsz Him SUEN" userId="da5993a8-f7f5-432e-85e3-268aabf1f3b0" providerId="ADAL" clId="{AEBCAD94-BEE7-8F4A-AB6C-64CCD90567B6}" dt="2019-05-08T06:10:42.189" v="1093" actId="164"/>
          <ac:spMkLst>
            <pc:docMk/>
            <pc:sldMk cId="3272287945" sldId="349"/>
            <ac:spMk id="4" creationId="{F95B1EA2-09C2-6643-8B26-CBD2642C50B2}"/>
          </ac:spMkLst>
        </pc:spChg>
        <pc:spChg chg="add del mod">
          <ac:chgData name="Tsz Him SUEN" userId="da5993a8-f7f5-432e-85e3-268aabf1f3b0" providerId="ADAL" clId="{AEBCAD94-BEE7-8F4A-AB6C-64CCD90567B6}" dt="2019-05-08T04:35:15.346" v="253" actId="478"/>
          <ac:spMkLst>
            <pc:docMk/>
            <pc:sldMk cId="3272287945" sldId="349"/>
            <ac:spMk id="5" creationId="{19C49D08-2D2C-804C-A111-89A555C7BC4D}"/>
          </ac:spMkLst>
        </pc:spChg>
        <pc:spChg chg="add mod">
          <ac:chgData name="Tsz Him SUEN" userId="da5993a8-f7f5-432e-85e3-268aabf1f3b0" providerId="ADAL" clId="{AEBCAD94-BEE7-8F4A-AB6C-64CCD90567B6}" dt="2019-05-08T06:10:46.662" v="1094" actId="164"/>
          <ac:spMkLst>
            <pc:docMk/>
            <pc:sldMk cId="3272287945" sldId="349"/>
            <ac:spMk id="6" creationId="{FDC362F1-6460-F64F-BC54-A26D9F212BBA}"/>
          </ac:spMkLst>
        </pc:spChg>
        <pc:spChg chg="add mod">
          <ac:chgData name="Tsz Him SUEN" userId="da5993a8-f7f5-432e-85e3-268aabf1f3b0" providerId="ADAL" clId="{AEBCAD94-BEE7-8F4A-AB6C-64CCD90567B6}" dt="2019-05-08T06:10:42.189" v="1093" actId="164"/>
          <ac:spMkLst>
            <pc:docMk/>
            <pc:sldMk cId="3272287945" sldId="349"/>
            <ac:spMk id="7" creationId="{8CBA9FFA-A5C0-6A44-942D-14A0F3B489AF}"/>
          </ac:spMkLst>
        </pc:spChg>
        <pc:spChg chg="add mod">
          <ac:chgData name="Tsz Him SUEN" userId="da5993a8-f7f5-432e-85e3-268aabf1f3b0" providerId="ADAL" clId="{AEBCAD94-BEE7-8F4A-AB6C-64CCD90567B6}" dt="2019-05-08T06:10:42.189" v="1093" actId="164"/>
          <ac:spMkLst>
            <pc:docMk/>
            <pc:sldMk cId="3272287945" sldId="349"/>
            <ac:spMk id="8" creationId="{638D7D5C-5AA8-DD45-9334-17287FA2E86B}"/>
          </ac:spMkLst>
        </pc:spChg>
        <pc:spChg chg="add mod">
          <ac:chgData name="Tsz Him SUEN" userId="da5993a8-f7f5-432e-85e3-268aabf1f3b0" providerId="ADAL" clId="{AEBCAD94-BEE7-8F4A-AB6C-64CCD90567B6}" dt="2019-05-08T06:10:46.662" v="1094" actId="164"/>
          <ac:spMkLst>
            <pc:docMk/>
            <pc:sldMk cId="3272287945" sldId="349"/>
            <ac:spMk id="9" creationId="{C02217F6-0F83-554E-AEB3-C34C40447C5A}"/>
          </ac:spMkLst>
        </pc:spChg>
        <pc:spChg chg="add mod">
          <ac:chgData name="Tsz Him SUEN" userId="da5993a8-f7f5-432e-85e3-268aabf1f3b0" providerId="ADAL" clId="{AEBCAD94-BEE7-8F4A-AB6C-64CCD90567B6}" dt="2019-05-08T06:10:46.662" v="1094" actId="164"/>
          <ac:spMkLst>
            <pc:docMk/>
            <pc:sldMk cId="3272287945" sldId="349"/>
            <ac:spMk id="10" creationId="{B6A2E8A8-08EF-EA45-A6A6-15C27F6B4003}"/>
          </ac:spMkLst>
        </pc:spChg>
        <pc:spChg chg="add mod">
          <ac:chgData name="Tsz Him SUEN" userId="da5993a8-f7f5-432e-85e3-268aabf1f3b0" providerId="ADAL" clId="{AEBCAD94-BEE7-8F4A-AB6C-64CCD90567B6}" dt="2019-05-08T06:10:42.189" v="1093" actId="164"/>
          <ac:spMkLst>
            <pc:docMk/>
            <pc:sldMk cId="3272287945" sldId="349"/>
            <ac:spMk id="11" creationId="{51B1607B-1D62-9A42-B74A-B17539A9A6A3}"/>
          </ac:spMkLst>
        </pc:spChg>
        <pc:spChg chg="add mod">
          <ac:chgData name="Tsz Him SUEN" userId="da5993a8-f7f5-432e-85e3-268aabf1f3b0" providerId="ADAL" clId="{AEBCAD94-BEE7-8F4A-AB6C-64CCD90567B6}" dt="2019-05-08T06:10:46.662" v="1094" actId="164"/>
          <ac:spMkLst>
            <pc:docMk/>
            <pc:sldMk cId="3272287945" sldId="349"/>
            <ac:spMk id="12" creationId="{768F59AC-627B-8D4E-BAFA-79114E4ADC97}"/>
          </ac:spMkLst>
        </pc:spChg>
        <pc:spChg chg="add mod">
          <ac:chgData name="Tsz Him SUEN" userId="da5993a8-f7f5-432e-85e3-268aabf1f3b0" providerId="ADAL" clId="{AEBCAD94-BEE7-8F4A-AB6C-64CCD90567B6}" dt="2019-05-08T04:44:49.793" v="976" actId="20577"/>
          <ac:spMkLst>
            <pc:docMk/>
            <pc:sldMk cId="3272287945" sldId="349"/>
            <ac:spMk id="13" creationId="{2F01EA8F-1B94-4242-8C3A-A1609AD4BB12}"/>
          </ac:spMkLst>
        </pc:spChg>
        <pc:grpChg chg="add mod">
          <ac:chgData name="Tsz Him SUEN" userId="da5993a8-f7f5-432e-85e3-268aabf1f3b0" providerId="ADAL" clId="{AEBCAD94-BEE7-8F4A-AB6C-64CCD90567B6}" dt="2019-05-08T06:10:42.189" v="1093" actId="164"/>
          <ac:grpSpMkLst>
            <pc:docMk/>
            <pc:sldMk cId="3272287945" sldId="349"/>
            <ac:grpSpMk id="14" creationId="{D39A68FD-3BB3-C44D-8D90-2F5051C2445D}"/>
          </ac:grpSpMkLst>
        </pc:grpChg>
        <pc:grpChg chg="add mod">
          <ac:chgData name="Tsz Him SUEN" userId="da5993a8-f7f5-432e-85e3-268aabf1f3b0" providerId="ADAL" clId="{AEBCAD94-BEE7-8F4A-AB6C-64CCD90567B6}" dt="2019-05-08T06:10:46.662" v="1094" actId="164"/>
          <ac:grpSpMkLst>
            <pc:docMk/>
            <pc:sldMk cId="3272287945" sldId="349"/>
            <ac:grpSpMk id="15" creationId="{8305F27D-8980-6A4D-8719-66F9CBD9B032}"/>
          </ac:grpSpMkLst>
        </pc:grpChg>
      </pc:sldChg>
      <pc:sldChg chg="addSp modSp modAnim">
        <pc:chgData name="Tsz Him SUEN" userId="da5993a8-f7f5-432e-85e3-268aabf1f3b0" providerId="ADAL" clId="{AEBCAD94-BEE7-8F4A-AB6C-64CCD90567B6}" dt="2019-05-08T06:07:57.460" v="1077"/>
        <pc:sldMkLst>
          <pc:docMk/>
          <pc:sldMk cId="618594674" sldId="352"/>
        </pc:sldMkLst>
        <pc:spChg chg="mod">
          <ac:chgData name="Tsz Him SUEN" userId="da5993a8-f7f5-432e-85e3-268aabf1f3b0" providerId="ADAL" clId="{AEBCAD94-BEE7-8F4A-AB6C-64CCD90567B6}" dt="2019-05-08T06:07:48.355" v="1075" actId="164"/>
          <ac:spMkLst>
            <pc:docMk/>
            <pc:sldMk cId="618594674" sldId="352"/>
            <ac:spMk id="10" creationId="{5127B35E-A207-4B5B-9384-301DB2DAD5BC}"/>
          </ac:spMkLst>
        </pc:spChg>
        <pc:grpChg chg="add mod">
          <ac:chgData name="Tsz Him SUEN" userId="da5993a8-f7f5-432e-85e3-268aabf1f3b0" providerId="ADAL" clId="{AEBCAD94-BEE7-8F4A-AB6C-64CCD90567B6}" dt="2019-05-08T06:07:48.355" v="1075" actId="164"/>
          <ac:grpSpMkLst>
            <pc:docMk/>
            <pc:sldMk cId="618594674" sldId="352"/>
            <ac:grpSpMk id="3" creationId="{73A6FDCD-27CC-BC4D-9BD5-8D77C60695F3}"/>
          </ac:grpSpMkLst>
        </pc:grpChg>
        <pc:graphicFrameChg chg="modGraphic">
          <ac:chgData name="Tsz Him SUEN" userId="da5993a8-f7f5-432e-85e3-268aabf1f3b0" providerId="ADAL" clId="{AEBCAD94-BEE7-8F4A-AB6C-64CCD90567B6}" dt="2019-05-08T05:56:41.526" v="1001" actId="20577"/>
          <ac:graphicFrameMkLst>
            <pc:docMk/>
            <pc:sldMk cId="618594674" sldId="352"/>
            <ac:graphicFrameMk id="7" creationId="{189C1958-D4DD-4E1A-973E-CBD7A2DD99C3}"/>
          </ac:graphicFrameMkLst>
        </pc:graphicFrameChg>
        <pc:picChg chg="mod">
          <ac:chgData name="Tsz Him SUEN" userId="da5993a8-f7f5-432e-85e3-268aabf1f3b0" providerId="ADAL" clId="{AEBCAD94-BEE7-8F4A-AB6C-64CCD90567B6}" dt="2019-05-08T06:07:48.355" v="1075" actId="164"/>
          <ac:picMkLst>
            <pc:docMk/>
            <pc:sldMk cId="618594674" sldId="352"/>
            <ac:picMk id="11268" creationId="{7552D867-EAD6-4681-B9CC-A23C4A9B360F}"/>
          </ac:picMkLst>
        </pc:picChg>
      </pc:sldChg>
      <pc:sldChg chg="addSp modSp add modAnim">
        <pc:chgData name="Tsz Him SUEN" userId="da5993a8-f7f5-432e-85e3-268aabf1f3b0" providerId="ADAL" clId="{AEBCAD94-BEE7-8F4A-AB6C-64CCD90567B6}" dt="2019-05-08T06:09:53.298" v="1087"/>
        <pc:sldMkLst>
          <pc:docMk/>
          <pc:sldMk cId="866890738" sldId="355"/>
        </pc:sldMkLst>
        <pc:spChg chg="add mod">
          <ac:chgData name="Tsz Him SUEN" userId="da5993a8-f7f5-432e-85e3-268aabf1f3b0" providerId="ADAL" clId="{AEBCAD94-BEE7-8F4A-AB6C-64CCD90567B6}" dt="2019-05-08T04:41:37.154" v="598" actId="20577"/>
          <ac:spMkLst>
            <pc:docMk/>
            <pc:sldMk cId="866890738" sldId="355"/>
            <ac:spMk id="3" creationId="{DE125BFD-7157-2544-98FC-61C80F743268}"/>
          </ac:spMkLst>
        </pc:spChg>
      </pc:sldChg>
    </pc:docChg>
  </pc:docChgLst>
  <pc:docChgLst>
    <pc:chgData name="Tsz Him SUEN" userId="da5993a8-f7f5-432e-85e3-268aabf1f3b0" providerId="ADAL" clId="{F3F6435A-1998-4F3F-8277-10FD213785FB}"/>
    <pc:docChg chg="undo redo custSel addSld delSld modSld sldOrd modMainMaster">
      <pc:chgData name="Tsz Him SUEN" userId="da5993a8-f7f5-432e-85e3-268aabf1f3b0" providerId="ADAL" clId="{F3F6435A-1998-4F3F-8277-10FD213785FB}" dt="2019-05-07T22:20:52.301" v="3616" actId="1076"/>
      <pc:docMkLst>
        <pc:docMk/>
      </pc:docMkLst>
      <pc:sldChg chg="addSp delSp modSp">
        <pc:chgData name="Tsz Him SUEN" userId="da5993a8-f7f5-432e-85e3-268aabf1f3b0" providerId="ADAL" clId="{F3F6435A-1998-4F3F-8277-10FD213785FB}" dt="2019-05-07T19:22:16.939" v="372" actId="207"/>
        <pc:sldMkLst>
          <pc:docMk/>
          <pc:sldMk cId="0" sldId="256"/>
        </pc:sldMkLst>
        <pc:spChg chg="del mod">
          <ac:chgData name="Tsz Him SUEN" userId="da5993a8-f7f5-432e-85e3-268aabf1f3b0" providerId="ADAL" clId="{F3F6435A-1998-4F3F-8277-10FD213785FB}" dt="2019-05-07T19:18:17.405" v="285" actId="478"/>
          <ac:spMkLst>
            <pc:docMk/>
            <pc:sldMk cId="0" sldId="256"/>
            <ac:spMk id="7" creationId="{D1C26BCA-551B-431F-AB91-3089A198F336}"/>
          </ac:spMkLst>
        </pc:spChg>
        <pc:spChg chg="add mod">
          <ac:chgData name="Tsz Him SUEN" userId="da5993a8-f7f5-432e-85e3-268aabf1f3b0" providerId="ADAL" clId="{F3F6435A-1998-4F3F-8277-10FD213785FB}" dt="2019-05-07T19:19:46.109" v="296" actId="14100"/>
          <ac:spMkLst>
            <pc:docMk/>
            <pc:sldMk cId="0" sldId="256"/>
            <ac:spMk id="8" creationId="{E5383DD5-83CA-46F3-84C9-C5F4A0D808CD}"/>
          </ac:spMkLst>
        </pc:spChg>
        <pc:spChg chg="del">
          <ac:chgData name="Tsz Him SUEN" userId="da5993a8-f7f5-432e-85e3-268aabf1f3b0" providerId="ADAL" clId="{F3F6435A-1998-4F3F-8277-10FD213785FB}" dt="2019-05-07T18:56:01.847" v="80" actId="478"/>
          <ac:spMkLst>
            <pc:docMk/>
            <pc:sldMk cId="0" sldId="256"/>
            <ac:spMk id="10" creationId="{23798397-161A-4E92-8072-733F2E5F7577}"/>
          </ac:spMkLst>
        </pc:spChg>
        <pc:spChg chg="add del mod">
          <ac:chgData name="Tsz Him SUEN" userId="da5993a8-f7f5-432e-85e3-268aabf1f3b0" providerId="ADAL" clId="{F3F6435A-1998-4F3F-8277-10FD213785FB}" dt="2019-05-07T19:20:45.619" v="306" actId="120"/>
          <ac:spMkLst>
            <pc:docMk/>
            <pc:sldMk cId="0" sldId="256"/>
            <ac:spMk id="16" creationId="{829F6A24-0F8F-465C-B480-A3867B0A13F3}"/>
          </ac:spMkLst>
        </pc:spChg>
        <pc:spChg chg="mod">
          <ac:chgData name="Tsz Him SUEN" userId="da5993a8-f7f5-432e-85e3-268aabf1f3b0" providerId="ADAL" clId="{F3F6435A-1998-4F3F-8277-10FD213785FB}" dt="2019-05-07T19:22:16.939" v="372" actId="207"/>
          <ac:spMkLst>
            <pc:docMk/>
            <pc:sldMk cId="0" sldId="256"/>
            <ac:spMk id="20" creationId="{8B215B6E-54DB-4325-A172-2FD792903318}"/>
          </ac:spMkLst>
        </pc:spChg>
        <pc:spChg chg="del mod ord">
          <ac:chgData name="Tsz Him SUEN" userId="da5993a8-f7f5-432e-85e3-268aabf1f3b0" providerId="ADAL" clId="{F3F6435A-1998-4F3F-8277-10FD213785FB}" dt="2019-05-07T19:13:13.258" v="164" actId="478"/>
          <ac:spMkLst>
            <pc:docMk/>
            <pc:sldMk cId="0" sldId="256"/>
            <ac:spMk id="25" creationId="{4002AC09-2554-4460-8933-3851945751DE}"/>
          </ac:spMkLst>
        </pc:spChg>
        <pc:grpChg chg="add del">
          <ac:chgData name="Tsz Him SUEN" userId="da5993a8-f7f5-432e-85e3-268aabf1f3b0" providerId="ADAL" clId="{F3F6435A-1998-4F3F-8277-10FD213785FB}" dt="2019-05-07T19:18:17.405" v="285" actId="478"/>
          <ac:grpSpMkLst>
            <pc:docMk/>
            <pc:sldMk cId="0" sldId="256"/>
            <ac:grpSpMk id="13" creationId="{02632F16-DAA6-41DD-A82C-154C0F369DF0}"/>
          </ac:grpSpMkLst>
        </pc:grpChg>
        <pc:grpChg chg="mod ord">
          <ac:chgData name="Tsz Him SUEN" userId="da5993a8-f7f5-432e-85e3-268aabf1f3b0" providerId="ADAL" clId="{F3F6435A-1998-4F3F-8277-10FD213785FB}" dt="2019-05-07T19:22:13.210" v="371" actId="207"/>
          <ac:grpSpMkLst>
            <pc:docMk/>
            <pc:sldMk cId="0" sldId="256"/>
            <ac:grpSpMk id="17" creationId="{93C567BE-25B8-454D-A07D-1FAF00941E09}"/>
          </ac:grpSpMkLst>
        </pc:grpChg>
        <pc:graphicFrameChg chg="add del mod">
          <ac:chgData name="Tsz Him SUEN" userId="da5993a8-f7f5-432e-85e3-268aabf1f3b0" providerId="ADAL" clId="{F3F6435A-1998-4F3F-8277-10FD213785FB}" dt="2019-05-07T19:02:11.216" v="99" actId="478"/>
          <ac:graphicFrameMkLst>
            <pc:docMk/>
            <pc:sldMk cId="0" sldId="256"/>
            <ac:graphicFrameMk id="4" creationId="{F4D5FF8F-7F20-445D-83C9-A1E96FBCA0E2}"/>
          </ac:graphicFrameMkLst>
        </pc:graphicFrameChg>
        <pc:picChg chg="add mod modCrop">
          <ac:chgData name="Tsz Him SUEN" userId="da5993a8-f7f5-432e-85e3-268aabf1f3b0" providerId="ADAL" clId="{F3F6435A-1998-4F3F-8277-10FD213785FB}" dt="2019-05-07T19:11:39.194" v="141" actId="732"/>
          <ac:picMkLst>
            <pc:docMk/>
            <pc:sldMk cId="0" sldId="256"/>
            <ac:picMk id="3" creationId="{3205FCA4-8611-455E-B4D4-E9D2697D4F51}"/>
          </ac:picMkLst>
        </pc:picChg>
        <pc:picChg chg="add mod">
          <ac:chgData name="Tsz Him SUEN" userId="da5993a8-f7f5-432e-85e3-268aabf1f3b0" providerId="ADAL" clId="{F3F6435A-1998-4F3F-8277-10FD213785FB}" dt="2019-05-07T19:11:48.685" v="143" actId="1076"/>
          <ac:picMkLst>
            <pc:docMk/>
            <pc:sldMk cId="0" sldId="256"/>
            <ac:picMk id="6" creationId="{F219C43A-827A-4D3B-93DC-BBF27622D112}"/>
          </ac:picMkLst>
        </pc:picChg>
        <pc:picChg chg="del">
          <ac:chgData name="Tsz Him SUEN" userId="da5993a8-f7f5-432e-85e3-268aabf1f3b0" providerId="ADAL" clId="{F3F6435A-1998-4F3F-8277-10FD213785FB}" dt="2019-05-07T18:55:59.449" v="79" actId="478"/>
          <ac:picMkLst>
            <pc:docMk/>
            <pc:sldMk cId="0" sldId="256"/>
            <ac:picMk id="24" creationId="{53D70C7A-0D5C-4D6B-A5A2-8E916C3C54BA}"/>
          </ac:picMkLst>
        </pc:picChg>
        <pc:picChg chg="del">
          <ac:chgData name="Tsz Him SUEN" userId="da5993a8-f7f5-432e-85e3-268aabf1f3b0" providerId="ADAL" clId="{F3F6435A-1998-4F3F-8277-10FD213785FB}" dt="2019-05-07T18:56:05.317" v="82" actId="478"/>
          <ac:picMkLst>
            <pc:docMk/>
            <pc:sldMk cId="0" sldId="256"/>
            <ac:picMk id="1026" creationId="{69503998-9429-4BBD-AEA5-419AF77ABA68}"/>
          </ac:picMkLst>
        </pc:picChg>
        <pc:picChg chg="del">
          <ac:chgData name="Tsz Him SUEN" userId="da5993a8-f7f5-432e-85e3-268aabf1f3b0" providerId="ADAL" clId="{F3F6435A-1998-4F3F-8277-10FD213785FB}" dt="2019-05-07T18:56:03.425" v="81" actId="478"/>
          <ac:picMkLst>
            <pc:docMk/>
            <pc:sldMk cId="0" sldId="256"/>
            <ac:picMk id="1028" creationId="{AB5009E0-B7C9-4C3C-8B21-46548095FB8F}"/>
          </ac:picMkLst>
        </pc:picChg>
        <pc:picChg chg="add mod">
          <ac:chgData name="Tsz Him SUEN" userId="da5993a8-f7f5-432e-85e3-268aabf1f3b0" providerId="ADAL" clId="{F3F6435A-1998-4F3F-8277-10FD213785FB}" dt="2019-05-07T19:11:50.853" v="144" actId="1076"/>
          <ac:picMkLst>
            <pc:docMk/>
            <pc:sldMk cId="0" sldId="256"/>
            <ac:picMk id="6146" creationId="{E90CF0FE-09AF-4751-9F3D-D2BE5DFE8A9B}"/>
          </ac:picMkLst>
        </pc:picChg>
        <pc:picChg chg="add mod">
          <ac:chgData name="Tsz Him SUEN" userId="da5993a8-f7f5-432e-85e3-268aabf1f3b0" providerId="ADAL" clId="{F3F6435A-1998-4F3F-8277-10FD213785FB}" dt="2019-05-07T19:12:48.277" v="158" actId="1076"/>
          <ac:picMkLst>
            <pc:docMk/>
            <pc:sldMk cId="0" sldId="256"/>
            <ac:picMk id="6148" creationId="{BCCBFEFF-81B3-4EAF-B3DB-C2EBC9E588E0}"/>
          </ac:picMkLst>
        </pc:picChg>
        <pc:picChg chg="add mod">
          <ac:chgData name="Tsz Him SUEN" userId="da5993a8-f7f5-432e-85e3-268aabf1f3b0" providerId="ADAL" clId="{F3F6435A-1998-4F3F-8277-10FD213785FB}" dt="2019-05-07T19:11:22.261" v="140" actId="1076"/>
          <ac:picMkLst>
            <pc:docMk/>
            <pc:sldMk cId="0" sldId="256"/>
            <ac:picMk id="6150" creationId="{B71AEEC9-4452-416A-B8B3-9DD46C102C76}"/>
          </ac:picMkLst>
        </pc:picChg>
        <pc:picChg chg="add mod">
          <ac:chgData name="Tsz Him SUEN" userId="da5993a8-f7f5-432e-85e3-268aabf1f3b0" providerId="ADAL" clId="{F3F6435A-1998-4F3F-8277-10FD213785FB}" dt="2019-05-07T19:11:17.968" v="139" actId="167"/>
          <ac:picMkLst>
            <pc:docMk/>
            <pc:sldMk cId="0" sldId="256"/>
            <ac:picMk id="6152" creationId="{2EFDA225-28C4-4986-A089-A957552FACF0}"/>
          </ac:picMkLst>
        </pc:picChg>
      </pc:sldChg>
      <pc:sldChg chg="modSp del">
        <pc:chgData name="Tsz Him SUEN" userId="da5993a8-f7f5-432e-85e3-268aabf1f3b0" providerId="ADAL" clId="{F3F6435A-1998-4F3F-8277-10FD213785FB}" dt="2019-05-07T21:54:03.189" v="2437" actId="2696"/>
        <pc:sldMkLst>
          <pc:docMk/>
          <pc:sldMk cId="676589787" sldId="276"/>
        </pc:sldMkLst>
        <pc:spChg chg="mod">
          <ac:chgData name="Tsz Him SUEN" userId="da5993a8-f7f5-432e-85e3-268aabf1f3b0" providerId="ADAL" clId="{F3F6435A-1998-4F3F-8277-10FD213785FB}" dt="2019-05-07T18:55:29.583" v="78" actId="14100"/>
          <ac:spMkLst>
            <pc:docMk/>
            <pc:sldMk cId="676589787" sldId="276"/>
            <ac:spMk id="12" creationId="{00000000-0000-0000-0000-000000000000}"/>
          </ac:spMkLst>
        </pc:spChg>
        <pc:spChg chg="mod">
          <ac:chgData name="Tsz Him SUEN" userId="da5993a8-f7f5-432e-85e3-268aabf1f3b0" providerId="ADAL" clId="{F3F6435A-1998-4F3F-8277-10FD213785FB}" dt="2019-05-07T18:55:17.873" v="76" actId="20577"/>
          <ac:spMkLst>
            <pc:docMk/>
            <pc:sldMk cId="676589787" sldId="276"/>
            <ac:spMk id="14" creationId="{00000000-0000-0000-0000-000000000000}"/>
          </ac:spMkLst>
        </pc:spChg>
        <pc:spChg chg="mod">
          <ac:chgData name="Tsz Him SUEN" userId="da5993a8-f7f5-432e-85e3-268aabf1f3b0" providerId="ADAL" clId="{F3F6435A-1998-4F3F-8277-10FD213785FB}" dt="2019-05-07T18:55:29.583" v="78" actId="14100"/>
          <ac:spMkLst>
            <pc:docMk/>
            <pc:sldMk cId="676589787" sldId="276"/>
            <ac:spMk id="23" creationId="{00000000-0000-0000-0000-000000000000}"/>
          </ac:spMkLst>
        </pc:spChg>
      </pc:sldChg>
      <pc:sldChg chg="del">
        <pc:chgData name="Tsz Him SUEN" userId="da5993a8-f7f5-432e-85e3-268aabf1f3b0" providerId="ADAL" clId="{F3F6435A-1998-4F3F-8277-10FD213785FB}" dt="2019-05-07T21:54:03.284" v="2441" actId="2696"/>
        <pc:sldMkLst>
          <pc:docMk/>
          <pc:sldMk cId="3935679680" sldId="309"/>
        </pc:sldMkLst>
      </pc:sldChg>
      <pc:sldChg chg="del">
        <pc:chgData name="Tsz Him SUEN" userId="da5993a8-f7f5-432e-85e3-268aabf1f3b0" providerId="ADAL" clId="{F3F6435A-1998-4F3F-8277-10FD213785FB}" dt="2019-05-07T21:54:03.327" v="2442" actId="2696"/>
        <pc:sldMkLst>
          <pc:docMk/>
          <pc:sldMk cId="3523369208" sldId="310"/>
        </pc:sldMkLst>
      </pc:sldChg>
      <pc:sldChg chg="del">
        <pc:chgData name="Tsz Him SUEN" userId="da5993a8-f7f5-432e-85e3-268aabf1f3b0" providerId="ADAL" clId="{F3F6435A-1998-4F3F-8277-10FD213785FB}" dt="2019-05-07T21:54:03.261" v="2440" actId="2696"/>
        <pc:sldMkLst>
          <pc:docMk/>
          <pc:sldMk cId="1745726173" sldId="311"/>
        </pc:sldMkLst>
      </pc:sldChg>
      <pc:sldChg chg="del">
        <pc:chgData name="Tsz Him SUEN" userId="da5993a8-f7f5-432e-85e3-268aabf1f3b0" providerId="ADAL" clId="{F3F6435A-1998-4F3F-8277-10FD213785FB}" dt="2019-05-07T21:54:03.378" v="2443" actId="2696"/>
        <pc:sldMkLst>
          <pc:docMk/>
          <pc:sldMk cId="1866751759" sldId="312"/>
        </pc:sldMkLst>
      </pc:sldChg>
      <pc:sldChg chg="del">
        <pc:chgData name="Tsz Him SUEN" userId="da5993a8-f7f5-432e-85e3-268aabf1f3b0" providerId="ADAL" clId="{F3F6435A-1998-4F3F-8277-10FD213785FB}" dt="2019-05-07T21:54:03.462" v="2445" actId="2696"/>
        <pc:sldMkLst>
          <pc:docMk/>
          <pc:sldMk cId="1924590624" sldId="313"/>
        </pc:sldMkLst>
      </pc:sldChg>
      <pc:sldChg chg="del">
        <pc:chgData name="Tsz Him SUEN" userId="da5993a8-f7f5-432e-85e3-268aabf1f3b0" providerId="ADAL" clId="{F3F6435A-1998-4F3F-8277-10FD213785FB}" dt="2019-05-07T21:54:03.568" v="2448" actId="2696"/>
        <pc:sldMkLst>
          <pc:docMk/>
          <pc:sldMk cId="3065313561" sldId="315"/>
        </pc:sldMkLst>
      </pc:sldChg>
      <pc:sldChg chg="del">
        <pc:chgData name="Tsz Him SUEN" userId="da5993a8-f7f5-432e-85e3-268aabf1f3b0" providerId="ADAL" clId="{F3F6435A-1998-4F3F-8277-10FD213785FB}" dt="2019-05-07T21:54:03.602" v="2449" actId="2696"/>
        <pc:sldMkLst>
          <pc:docMk/>
          <pc:sldMk cId="1119262655" sldId="316"/>
        </pc:sldMkLst>
      </pc:sldChg>
      <pc:sldChg chg="del">
        <pc:chgData name="Tsz Him SUEN" userId="da5993a8-f7f5-432e-85e3-268aabf1f3b0" providerId="ADAL" clId="{F3F6435A-1998-4F3F-8277-10FD213785FB}" dt="2019-05-07T21:54:03.482" v="2446" actId="2696"/>
        <pc:sldMkLst>
          <pc:docMk/>
          <pc:sldMk cId="3460079409" sldId="317"/>
        </pc:sldMkLst>
      </pc:sldChg>
      <pc:sldChg chg="del">
        <pc:chgData name="Tsz Him SUEN" userId="da5993a8-f7f5-432e-85e3-268aabf1f3b0" providerId="ADAL" clId="{F3F6435A-1998-4F3F-8277-10FD213785FB}" dt="2019-05-07T21:54:03.523" v="2447" actId="2696"/>
        <pc:sldMkLst>
          <pc:docMk/>
          <pc:sldMk cId="2081574701" sldId="318"/>
        </pc:sldMkLst>
      </pc:sldChg>
      <pc:sldChg chg="del">
        <pc:chgData name="Tsz Him SUEN" userId="da5993a8-f7f5-432e-85e3-268aabf1f3b0" providerId="ADAL" clId="{F3F6435A-1998-4F3F-8277-10FD213785FB}" dt="2019-05-07T21:54:03.427" v="2444" actId="2696"/>
        <pc:sldMkLst>
          <pc:docMk/>
          <pc:sldMk cId="3779541952" sldId="319"/>
        </pc:sldMkLst>
      </pc:sldChg>
      <pc:sldChg chg="del">
        <pc:chgData name="Tsz Him SUEN" userId="da5993a8-f7f5-432e-85e3-268aabf1f3b0" providerId="ADAL" clId="{F3F6435A-1998-4F3F-8277-10FD213785FB}" dt="2019-05-07T21:54:03.756" v="2455" actId="2696"/>
        <pc:sldMkLst>
          <pc:docMk/>
          <pc:sldMk cId="2729526236" sldId="320"/>
        </pc:sldMkLst>
      </pc:sldChg>
      <pc:sldChg chg="del">
        <pc:chgData name="Tsz Him SUEN" userId="da5993a8-f7f5-432e-85e3-268aabf1f3b0" providerId="ADAL" clId="{F3F6435A-1998-4F3F-8277-10FD213785FB}" dt="2019-05-07T21:54:03.663" v="2451" actId="2696"/>
        <pc:sldMkLst>
          <pc:docMk/>
          <pc:sldMk cId="731141701" sldId="321"/>
        </pc:sldMkLst>
      </pc:sldChg>
      <pc:sldChg chg="del">
        <pc:chgData name="Tsz Him SUEN" userId="da5993a8-f7f5-432e-85e3-268aabf1f3b0" providerId="ADAL" clId="{F3F6435A-1998-4F3F-8277-10FD213785FB}" dt="2019-05-07T21:54:03.721" v="2453" actId="2696"/>
        <pc:sldMkLst>
          <pc:docMk/>
          <pc:sldMk cId="548906956" sldId="322"/>
        </pc:sldMkLst>
      </pc:sldChg>
      <pc:sldChg chg="del">
        <pc:chgData name="Tsz Him SUEN" userId="da5993a8-f7f5-432e-85e3-268aabf1f3b0" providerId="ADAL" clId="{F3F6435A-1998-4F3F-8277-10FD213785FB}" dt="2019-05-07T21:54:04.491" v="2469" actId="2696"/>
        <pc:sldMkLst>
          <pc:docMk/>
          <pc:sldMk cId="2674178256" sldId="323"/>
        </pc:sldMkLst>
      </pc:sldChg>
      <pc:sldChg chg="del">
        <pc:chgData name="Tsz Him SUEN" userId="da5993a8-f7f5-432e-85e3-268aabf1f3b0" providerId="ADAL" clId="{F3F6435A-1998-4F3F-8277-10FD213785FB}" dt="2019-05-07T21:54:04.409" v="2468" actId="2696"/>
        <pc:sldMkLst>
          <pc:docMk/>
          <pc:sldMk cId="2627126440" sldId="324"/>
        </pc:sldMkLst>
      </pc:sldChg>
      <pc:sldChg chg="del">
        <pc:chgData name="Tsz Him SUEN" userId="da5993a8-f7f5-432e-85e3-268aabf1f3b0" providerId="ADAL" clId="{F3F6435A-1998-4F3F-8277-10FD213785FB}" dt="2019-05-07T21:54:04.358" v="2467" actId="2696"/>
        <pc:sldMkLst>
          <pc:docMk/>
          <pc:sldMk cId="2011977339" sldId="325"/>
        </pc:sldMkLst>
      </pc:sldChg>
      <pc:sldChg chg="del">
        <pc:chgData name="Tsz Him SUEN" userId="da5993a8-f7f5-432e-85e3-268aabf1f3b0" providerId="ADAL" clId="{F3F6435A-1998-4F3F-8277-10FD213785FB}" dt="2019-05-07T21:54:03.631" v="2450" actId="2696"/>
        <pc:sldMkLst>
          <pc:docMk/>
          <pc:sldMk cId="815072904" sldId="326"/>
        </pc:sldMkLst>
      </pc:sldChg>
      <pc:sldChg chg="del">
        <pc:chgData name="Tsz Him SUEN" userId="da5993a8-f7f5-432e-85e3-268aabf1f3b0" providerId="ADAL" clId="{F3F6435A-1998-4F3F-8277-10FD213785FB}" dt="2019-05-07T21:54:03.783" v="2456" actId="2696"/>
        <pc:sldMkLst>
          <pc:docMk/>
          <pc:sldMk cId="3598746976" sldId="327"/>
        </pc:sldMkLst>
      </pc:sldChg>
      <pc:sldChg chg="del">
        <pc:chgData name="Tsz Him SUEN" userId="da5993a8-f7f5-432e-85e3-268aabf1f3b0" providerId="ADAL" clId="{F3F6435A-1998-4F3F-8277-10FD213785FB}" dt="2019-05-07T21:54:03.243" v="2439" actId="2696"/>
        <pc:sldMkLst>
          <pc:docMk/>
          <pc:sldMk cId="3382550008" sldId="328"/>
        </pc:sldMkLst>
      </pc:sldChg>
      <pc:sldChg chg="del">
        <pc:chgData name="Tsz Him SUEN" userId="da5993a8-f7f5-432e-85e3-268aabf1f3b0" providerId="ADAL" clId="{F3F6435A-1998-4F3F-8277-10FD213785FB}" dt="2019-05-07T21:54:03.221" v="2438" actId="2696"/>
        <pc:sldMkLst>
          <pc:docMk/>
          <pc:sldMk cId="2658244405" sldId="331"/>
        </pc:sldMkLst>
      </pc:sldChg>
      <pc:sldChg chg="del">
        <pc:chgData name="Tsz Him SUEN" userId="da5993a8-f7f5-432e-85e3-268aabf1f3b0" providerId="ADAL" clId="{F3F6435A-1998-4F3F-8277-10FD213785FB}" dt="2019-05-07T21:54:03.855" v="2459" actId="2696"/>
        <pc:sldMkLst>
          <pc:docMk/>
          <pc:sldMk cId="3149511474" sldId="332"/>
        </pc:sldMkLst>
      </pc:sldChg>
      <pc:sldChg chg="del">
        <pc:chgData name="Tsz Him SUEN" userId="da5993a8-f7f5-432e-85e3-268aabf1f3b0" providerId="ADAL" clId="{F3F6435A-1998-4F3F-8277-10FD213785FB}" dt="2019-05-07T21:54:03.830" v="2458" actId="2696"/>
        <pc:sldMkLst>
          <pc:docMk/>
          <pc:sldMk cId="2761639394" sldId="333"/>
        </pc:sldMkLst>
      </pc:sldChg>
      <pc:sldChg chg="del">
        <pc:chgData name="Tsz Him SUEN" userId="da5993a8-f7f5-432e-85e3-268aabf1f3b0" providerId="ADAL" clId="{F3F6435A-1998-4F3F-8277-10FD213785FB}" dt="2019-05-07T21:54:03.932" v="2462" actId="2696"/>
        <pc:sldMkLst>
          <pc:docMk/>
          <pc:sldMk cId="3464764372" sldId="334"/>
        </pc:sldMkLst>
      </pc:sldChg>
      <pc:sldChg chg="del">
        <pc:chgData name="Tsz Him SUEN" userId="da5993a8-f7f5-432e-85e3-268aabf1f3b0" providerId="ADAL" clId="{F3F6435A-1998-4F3F-8277-10FD213785FB}" dt="2019-05-07T21:54:03.885" v="2460" actId="2696"/>
        <pc:sldMkLst>
          <pc:docMk/>
          <pc:sldMk cId="4046766704" sldId="335"/>
        </pc:sldMkLst>
      </pc:sldChg>
      <pc:sldChg chg="del">
        <pc:chgData name="Tsz Him SUEN" userId="da5993a8-f7f5-432e-85e3-268aabf1f3b0" providerId="ADAL" clId="{F3F6435A-1998-4F3F-8277-10FD213785FB}" dt="2019-05-07T21:54:03.920" v="2461" actId="2696"/>
        <pc:sldMkLst>
          <pc:docMk/>
          <pc:sldMk cId="378064956" sldId="336"/>
        </pc:sldMkLst>
      </pc:sldChg>
      <pc:sldChg chg="del">
        <pc:chgData name="Tsz Him SUEN" userId="da5993a8-f7f5-432e-85e3-268aabf1f3b0" providerId="ADAL" clId="{F3F6435A-1998-4F3F-8277-10FD213785FB}" dt="2019-05-07T21:54:03.951" v="2463" actId="2696"/>
        <pc:sldMkLst>
          <pc:docMk/>
          <pc:sldMk cId="3305046819" sldId="338"/>
        </pc:sldMkLst>
      </pc:sldChg>
      <pc:sldChg chg="del">
        <pc:chgData name="Tsz Him SUEN" userId="da5993a8-f7f5-432e-85e3-268aabf1f3b0" providerId="ADAL" clId="{F3F6435A-1998-4F3F-8277-10FD213785FB}" dt="2019-05-07T21:54:04.174" v="2464" actId="2696"/>
        <pc:sldMkLst>
          <pc:docMk/>
          <pc:sldMk cId="4072986387" sldId="339"/>
        </pc:sldMkLst>
      </pc:sldChg>
      <pc:sldChg chg="del">
        <pc:chgData name="Tsz Him SUEN" userId="da5993a8-f7f5-432e-85e3-268aabf1f3b0" providerId="ADAL" clId="{F3F6435A-1998-4F3F-8277-10FD213785FB}" dt="2019-05-07T21:54:04.262" v="2465" actId="2696"/>
        <pc:sldMkLst>
          <pc:docMk/>
          <pc:sldMk cId="869445846" sldId="340"/>
        </pc:sldMkLst>
      </pc:sldChg>
      <pc:sldChg chg="del">
        <pc:chgData name="Tsz Him SUEN" userId="da5993a8-f7f5-432e-85e3-268aabf1f3b0" providerId="ADAL" clId="{F3F6435A-1998-4F3F-8277-10FD213785FB}" dt="2019-05-07T21:54:04.325" v="2466" actId="2696"/>
        <pc:sldMkLst>
          <pc:docMk/>
          <pc:sldMk cId="2331623736" sldId="341"/>
        </pc:sldMkLst>
      </pc:sldChg>
      <pc:sldChg chg="addSp delSp modSp add ord delAnim modAnim">
        <pc:chgData name="Tsz Him SUEN" userId="da5993a8-f7f5-432e-85e3-268aabf1f3b0" providerId="ADAL" clId="{F3F6435A-1998-4F3F-8277-10FD213785FB}" dt="2019-05-07T22:01:32.290" v="2650"/>
        <pc:sldMkLst>
          <pc:docMk/>
          <pc:sldMk cId="3861644279" sldId="342"/>
        </pc:sldMkLst>
        <pc:spChg chg="mod">
          <ac:chgData name="Tsz Him SUEN" userId="da5993a8-f7f5-432e-85e3-268aabf1f3b0" providerId="ADAL" clId="{F3F6435A-1998-4F3F-8277-10FD213785FB}" dt="2019-05-07T19:21:46.063" v="369" actId="20577"/>
          <ac:spMkLst>
            <pc:docMk/>
            <pc:sldMk cId="3861644279" sldId="342"/>
            <ac:spMk id="2" creationId="{0C13FA11-E8EB-40E9-AC0E-C17A3306EE45}"/>
          </ac:spMkLst>
        </pc:spChg>
        <pc:spChg chg="mod">
          <ac:chgData name="Tsz Him SUEN" userId="da5993a8-f7f5-432e-85e3-268aabf1f3b0" providerId="ADAL" clId="{F3F6435A-1998-4F3F-8277-10FD213785FB}" dt="2019-05-07T19:30:50.181" v="531" actId="1076"/>
          <ac:spMkLst>
            <pc:docMk/>
            <pc:sldMk cId="3861644279" sldId="342"/>
            <ac:spMk id="3" creationId="{FE6355E4-528E-43B4-A566-56C2FCBB98A1}"/>
          </ac:spMkLst>
        </pc:spChg>
        <pc:spChg chg="mod">
          <ac:chgData name="Tsz Him SUEN" userId="da5993a8-f7f5-432e-85e3-268aabf1f3b0" providerId="ADAL" clId="{F3F6435A-1998-4F3F-8277-10FD213785FB}" dt="2019-05-07T19:32:40.813" v="546" actId="164"/>
          <ac:spMkLst>
            <pc:docMk/>
            <pc:sldMk cId="3861644279" sldId="342"/>
            <ac:spMk id="5" creationId="{86472A24-B33E-48D1-A325-8CC2AB929139}"/>
          </ac:spMkLst>
        </pc:spChg>
        <pc:spChg chg="add mod">
          <ac:chgData name="Tsz Him SUEN" userId="da5993a8-f7f5-432e-85e3-268aabf1f3b0" providerId="ADAL" clId="{F3F6435A-1998-4F3F-8277-10FD213785FB}" dt="2019-05-07T19:43:27.763" v="1056" actId="20577"/>
          <ac:spMkLst>
            <pc:docMk/>
            <pc:sldMk cId="3861644279" sldId="342"/>
            <ac:spMk id="6" creationId="{636D71F6-ED8D-4C36-9FA9-1003944F364F}"/>
          </ac:spMkLst>
        </pc:spChg>
        <pc:spChg chg="add mod">
          <ac:chgData name="Tsz Him SUEN" userId="da5993a8-f7f5-432e-85e3-268aabf1f3b0" providerId="ADAL" clId="{F3F6435A-1998-4F3F-8277-10FD213785FB}" dt="2019-05-07T22:01:32.290" v="2650"/>
          <ac:spMkLst>
            <pc:docMk/>
            <pc:sldMk cId="3861644279" sldId="342"/>
            <ac:spMk id="12" creationId="{9E1BE002-7051-4EEA-896F-BD728E40ECC8}"/>
          </ac:spMkLst>
        </pc:spChg>
        <pc:spChg chg="add mod">
          <ac:chgData name="Tsz Him SUEN" userId="da5993a8-f7f5-432e-85e3-268aabf1f3b0" providerId="ADAL" clId="{F3F6435A-1998-4F3F-8277-10FD213785FB}" dt="2019-05-07T21:57:47.653" v="2600" actId="207"/>
          <ac:spMkLst>
            <pc:docMk/>
            <pc:sldMk cId="3861644279" sldId="342"/>
            <ac:spMk id="14" creationId="{E8753AD5-E58B-49C7-9615-F375BFF25B20}"/>
          </ac:spMkLst>
        </pc:spChg>
        <pc:spChg chg="add del mod">
          <ac:chgData name="Tsz Him SUEN" userId="da5993a8-f7f5-432e-85e3-268aabf1f3b0" providerId="ADAL" clId="{F3F6435A-1998-4F3F-8277-10FD213785FB}" dt="2019-05-07T19:32:50.281" v="549" actId="478"/>
          <ac:spMkLst>
            <pc:docMk/>
            <pc:sldMk cId="3861644279" sldId="342"/>
            <ac:spMk id="16" creationId="{679F76E2-7BAF-42DB-A4F5-772C72227CDA}"/>
          </ac:spMkLst>
        </pc:spChg>
        <pc:spChg chg="add del mod">
          <ac:chgData name="Tsz Him SUEN" userId="da5993a8-f7f5-432e-85e3-268aabf1f3b0" providerId="ADAL" clId="{F3F6435A-1998-4F3F-8277-10FD213785FB}" dt="2019-05-07T19:32:50.281" v="549" actId="478"/>
          <ac:spMkLst>
            <pc:docMk/>
            <pc:sldMk cId="3861644279" sldId="342"/>
            <ac:spMk id="17" creationId="{87B1329F-7E7E-413E-9DD1-3B6B125F42EE}"/>
          </ac:spMkLst>
        </pc:spChg>
        <pc:spChg chg="add del mod">
          <ac:chgData name="Tsz Him SUEN" userId="da5993a8-f7f5-432e-85e3-268aabf1f3b0" providerId="ADAL" clId="{F3F6435A-1998-4F3F-8277-10FD213785FB}" dt="2019-05-07T19:32:53.643" v="551" actId="478"/>
          <ac:spMkLst>
            <pc:docMk/>
            <pc:sldMk cId="3861644279" sldId="342"/>
            <ac:spMk id="20" creationId="{FE450FEC-7EAB-4DB1-81B2-20964254CEA9}"/>
          </ac:spMkLst>
        </pc:spChg>
        <pc:spChg chg="add del mod">
          <ac:chgData name="Tsz Him SUEN" userId="da5993a8-f7f5-432e-85e3-268aabf1f3b0" providerId="ADAL" clId="{F3F6435A-1998-4F3F-8277-10FD213785FB}" dt="2019-05-07T19:32:50.281" v="549" actId="478"/>
          <ac:spMkLst>
            <pc:docMk/>
            <pc:sldMk cId="3861644279" sldId="342"/>
            <ac:spMk id="21" creationId="{615720B0-8D68-4C70-893A-3AB01A930EAE}"/>
          </ac:spMkLst>
        </pc:spChg>
        <pc:spChg chg="mod">
          <ac:chgData name="Tsz Him SUEN" userId="da5993a8-f7f5-432e-85e3-268aabf1f3b0" providerId="ADAL" clId="{F3F6435A-1998-4F3F-8277-10FD213785FB}" dt="2019-05-07T19:32:46.065" v="548" actId="164"/>
          <ac:spMkLst>
            <pc:docMk/>
            <pc:sldMk cId="3861644279" sldId="342"/>
            <ac:spMk id="24" creationId="{5DD122E1-E7E4-4AAB-A84A-52E1E2E19BCD}"/>
          </ac:spMkLst>
        </pc:spChg>
        <pc:spChg chg="mod">
          <ac:chgData name="Tsz Him SUEN" userId="da5993a8-f7f5-432e-85e3-268aabf1f3b0" providerId="ADAL" clId="{F3F6435A-1998-4F3F-8277-10FD213785FB}" dt="2019-05-07T19:34:54.016" v="646" actId="20577"/>
          <ac:spMkLst>
            <pc:docMk/>
            <pc:sldMk cId="3861644279" sldId="342"/>
            <ac:spMk id="25" creationId="{D499BE8D-A38E-435C-8AE8-F0AE15262BF2}"/>
          </ac:spMkLst>
        </pc:spChg>
        <pc:spChg chg="mod">
          <ac:chgData name="Tsz Him SUEN" userId="da5993a8-f7f5-432e-85e3-268aabf1f3b0" providerId="ADAL" clId="{F3F6435A-1998-4F3F-8277-10FD213785FB}" dt="2019-05-07T19:35:43.259" v="723" actId="1076"/>
          <ac:spMkLst>
            <pc:docMk/>
            <pc:sldMk cId="3861644279" sldId="342"/>
            <ac:spMk id="26" creationId="{34D8F8C7-C286-40FB-BF17-4BAA6BD14C3F}"/>
          </ac:spMkLst>
        </pc:spChg>
        <pc:spChg chg="mod">
          <ac:chgData name="Tsz Him SUEN" userId="da5993a8-f7f5-432e-85e3-268aabf1f3b0" providerId="ADAL" clId="{F3F6435A-1998-4F3F-8277-10FD213785FB}" dt="2019-05-07T19:33:03.850" v="555" actId="164"/>
          <ac:spMkLst>
            <pc:docMk/>
            <pc:sldMk cId="3861644279" sldId="342"/>
            <ac:spMk id="28" creationId="{B7EAA2E5-E48C-45F0-95B7-E48F1CB86B92}"/>
          </ac:spMkLst>
        </pc:spChg>
        <pc:spChg chg="mod">
          <ac:chgData name="Tsz Him SUEN" userId="da5993a8-f7f5-432e-85e3-268aabf1f3b0" providerId="ADAL" clId="{F3F6435A-1998-4F3F-8277-10FD213785FB}" dt="2019-05-07T19:39:40.323" v="858" actId="20577"/>
          <ac:spMkLst>
            <pc:docMk/>
            <pc:sldMk cId="3861644279" sldId="342"/>
            <ac:spMk id="31" creationId="{AF2CC84C-4C7A-42EE-AFF1-14F230C75256}"/>
          </ac:spMkLst>
        </pc:spChg>
        <pc:spChg chg="mod">
          <ac:chgData name="Tsz Him SUEN" userId="da5993a8-f7f5-432e-85e3-268aabf1f3b0" providerId="ADAL" clId="{F3F6435A-1998-4F3F-8277-10FD213785FB}" dt="2019-05-07T19:42:22.398" v="966" actId="20577"/>
          <ac:spMkLst>
            <pc:docMk/>
            <pc:sldMk cId="3861644279" sldId="342"/>
            <ac:spMk id="32" creationId="{38FBF42E-28D4-4324-9E68-0C3D5B9EBE4D}"/>
          </ac:spMkLst>
        </pc:spChg>
        <pc:spChg chg="mod">
          <ac:chgData name="Tsz Him SUEN" userId="da5993a8-f7f5-432e-85e3-268aabf1f3b0" providerId="ADAL" clId="{F3F6435A-1998-4F3F-8277-10FD213785FB}" dt="2019-05-07T19:43:17.845" v="1046" actId="20577"/>
          <ac:spMkLst>
            <pc:docMk/>
            <pc:sldMk cId="3861644279" sldId="342"/>
            <ac:spMk id="33" creationId="{E77C61B6-58CC-4338-9836-E78C51EDE422}"/>
          </ac:spMkLst>
        </pc:spChg>
        <pc:spChg chg="mod">
          <ac:chgData name="Tsz Him SUEN" userId="da5993a8-f7f5-432e-85e3-268aabf1f3b0" providerId="ADAL" clId="{F3F6435A-1998-4F3F-8277-10FD213785FB}" dt="2019-05-07T19:38:38.896" v="741" actId="20577"/>
          <ac:spMkLst>
            <pc:docMk/>
            <pc:sldMk cId="3861644279" sldId="342"/>
            <ac:spMk id="35" creationId="{891E675B-3CC2-44BF-BED7-9B454A3843FD}"/>
          </ac:spMkLst>
        </pc:spChg>
        <pc:spChg chg="mod">
          <ac:chgData name="Tsz Him SUEN" userId="da5993a8-f7f5-432e-85e3-268aabf1f3b0" providerId="ADAL" clId="{F3F6435A-1998-4F3F-8277-10FD213785FB}" dt="2019-05-07T19:42:14.118" v="958" actId="20577"/>
          <ac:spMkLst>
            <pc:docMk/>
            <pc:sldMk cId="3861644279" sldId="342"/>
            <ac:spMk id="36" creationId="{E8CD4CB3-0773-4B88-9603-FD76A84112D7}"/>
          </ac:spMkLst>
        </pc:spChg>
        <pc:grpChg chg="add mod">
          <ac:chgData name="Tsz Him SUEN" userId="da5993a8-f7f5-432e-85e3-268aabf1f3b0" providerId="ADAL" clId="{F3F6435A-1998-4F3F-8277-10FD213785FB}" dt="2019-05-07T19:36:28.600" v="729" actId="554"/>
          <ac:grpSpMkLst>
            <pc:docMk/>
            <pc:sldMk cId="3861644279" sldId="342"/>
            <ac:grpSpMk id="8" creationId="{BCA5E841-1E78-4B72-B3AD-3EE0B1A5114E}"/>
          </ac:grpSpMkLst>
        </pc:grpChg>
        <pc:grpChg chg="add mod">
          <ac:chgData name="Tsz Him SUEN" userId="da5993a8-f7f5-432e-85e3-268aabf1f3b0" providerId="ADAL" clId="{F3F6435A-1998-4F3F-8277-10FD213785FB}" dt="2019-05-07T19:36:28.600" v="729" actId="554"/>
          <ac:grpSpMkLst>
            <pc:docMk/>
            <pc:sldMk cId="3861644279" sldId="342"/>
            <ac:grpSpMk id="9" creationId="{A7E4DA6F-C05D-498C-8D3A-DD58990A8087}"/>
          </ac:grpSpMkLst>
        </pc:grpChg>
        <pc:grpChg chg="add mod">
          <ac:chgData name="Tsz Him SUEN" userId="da5993a8-f7f5-432e-85e3-268aabf1f3b0" providerId="ADAL" clId="{F3F6435A-1998-4F3F-8277-10FD213785FB}" dt="2019-05-07T19:33:00.282" v="553" actId="164"/>
          <ac:grpSpMkLst>
            <pc:docMk/>
            <pc:sldMk cId="3861644279" sldId="342"/>
            <ac:grpSpMk id="10" creationId="{77BEF3AA-40FD-4CF1-8402-2063D01B7CAA}"/>
          </ac:grpSpMkLst>
        </pc:grpChg>
        <pc:grpChg chg="add mod">
          <ac:chgData name="Tsz Him SUEN" userId="da5993a8-f7f5-432e-85e3-268aabf1f3b0" providerId="ADAL" clId="{F3F6435A-1998-4F3F-8277-10FD213785FB}" dt="2019-05-07T19:39:38.825" v="845" actId="20577"/>
          <ac:grpSpMkLst>
            <pc:docMk/>
            <pc:sldMk cId="3861644279" sldId="342"/>
            <ac:grpSpMk id="11" creationId="{57EFFAEF-2540-494A-B46E-DB65D8EEF69B}"/>
          </ac:grpSpMkLst>
        </pc:grpChg>
        <pc:grpChg chg="add mod">
          <ac:chgData name="Tsz Him SUEN" userId="da5993a8-f7f5-432e-85e3-268aabf1f3b0" providerId="ADAL" clId="{F3F6435A-1998-4F3F-8277-10FD213785FB}" dt="2019-05-07T19:36:38.274" v="731" actId="14100"/>
          <ac:grpSpMkLst>
            <pc:docMk/>
            <pc:sldMk cId="3861644279" sldId="342"/>
            <ac:grpSpMk id="29" creationId="{7CB22BA8-5A32-4415-B2EB-E398A3A52EFA}"/>
          </ac:grpSpMkLst>
        </pc:grpChg>
        <pc:grpChg chg="add mod">
          <ac:chgData name="Tsz Him SUEN" userId="da5993a8-f7f5-432e-85e3-268aabf1f3b0" providerId="ADAL" clId="{F3F6435A-1998-4F3F-8277-10FD213785FB}" dt="2019-05-07T19:36:36.330" v="730" actId="14100"/>
          <ac:grpSpMkLst>
            <pc:docMk/>
            <pc:sldMk cId="3861644279" sldId="342"/>
            <ac:grpSpMk id="34" creationId="{ACBC61AF-A873-471B-9180-D8FCAF1122BF}"/>
          </ac:grpSpMkLst>
        </pc:grpChg>
        <pc:picChg chg="mod">
          <ac:chgData name="Tsz Him SUEN" userId="da5993a8-f7f5-432e-85e3-268aabf1f3b0" providerId="ADAL" clId="{F3F6435A-1998-4F3F-8277-10FD213785FB}" dt="2019-05-07T19:34:19.898" v="563" actId="14826"/>
          <ac:picMkLst>
            <pc:docMk/>
            <pc:sldMk cId="3861644279" sldId="342"/>
            <ac:picMk id="4" creationId="{F8E5AB16-44CF-462B-B863-FD5B334C8951}"/>
          </ac:picMkLst>
        </pc:picChg>
        <pc:picChg chg="mod">
          <ac:chgData name="Tsz Him SUEN" userId="da5993a8-f7f5-432e-85e3-268aabf1f3b0" providerId="ADAL" clId="{F3F6435A-1998-4F3F-8277-10FD213785FB}" dt="2019-05-07T19:38:22.722" v="734" actId="14826"/>
          <ac:picMkLst>
            <pc:docMk/>
            <pc:sldMk cId="3861644279" sldId="342"/>
            <ac:picMk id="7" creationId="{3D3B4CE5-2295-43B8-950B-ADFDD192C2E4}"/>
          </ac:picMkLst>
        </pc:picChg>
        <pc:picChg chg="add del mod">
          <ac:chgData name="Tsz Him SUEN" userId="da5993a8-f7f5-432e-85e3-268aabf1f3b0" providerId="ADAL" clId="{F3F6435A-1998-4F3F-8277-10FD213785FB}" dt="2019-05-07T19:32:50.281" v="549" actId="478"/>
          <ac:picMkLst>
            <pc:docMk/>
            <pc:sldMk cId="3861644279" sldId="342"/>
            <ac:picMk id="18" creationId="{341E3523-E4AB-4EC2-BD5A-D073019CDB5A}"/>
          </ac:picMkLst>
        </pc:picChg>
        <pc:picChg chg="del">
          <ac:chgData name="Tsz Him SUEN" userId="da5993a8-f7f5-432e-85e3-268aabf1f3b0" providerId="ADAL" clId="{F3F6435A-1998-4F3F-8277-10FD213785FB}" dt="2019-05-07T19:21:48.490" v="370" actId="478"/>
          <ac:picMkLst>
            <pc:docMk/>
            <pc:sldMk cId="3861644279" sldId="342"/>
            <ac:picMk id="19" creationId="{65D86412-3A1B-4E12-B9E1-53AE186ECC09}"/>
          </ac:picMkLst>
        </pc:picChg>
        <pc:picChg chg="add del mod">
          <ac:chgData name="Tsz Him SUEN" userId="da5993a8-f7f5-432e-85e3-268aabf1f3b0" providerId="ADAL" clId="{F3F6435A-1998-4F3F-8277-10FD213785FB}" dt="2019-05-07T19:32:50.281" v="549" actId="478"/>
          <ac:picMkLst>
            <pc:docMk/>
            <pc:sldMk cId="3861644279" sldId="342"/>
            <ac:picMk id="22" creationId="{DB40B4EE-6868-469D-9618-062496AEEDC0}"/>
          </ac:picMkLst>
        </pc:picChg>
        <pc:picChg chg="mod">
          <ac:chgData name="Tsz Him SUEN" userId="da5993a8-f7f5-432e-85e3-268aabf1f3b0" providerId="ADAL" clId="{F3F6435A-1998-4F3F-8277-10FD213785FB}" dt="2019-05-07T19:38:26.976" v="735" actId="14826"/>
          <ac:picMkLst>
            <pc:docMk/>
            <pc:sldMk cId="3861644279" sldId="342"/>
            <ac:picMk id="27" creationId="{FE510923-558F-4A93-BBDD-63973F484FE7}"/>
          </ac:picMkLst>
        </pc:picChg>
        <pc:picChg chg="mod">
          <ac:chgData name="Tsz Him SUEN" userId="da5993a8-f7f5-432e-85e3-268aabf1f3b0" providerId="ADAL" clId="{F3F6435A-1998-4F3F-8277-10FD213785FB}" dt="2019-05-07T19:42:48.555" v="967" actId="14826"/>
          <ac:picMkLst>
            <pc:docMk/>
            <pc:sldMk cId="3861644279" sldId="342"/>
            <ac:picMk id="30" creationId="{88B0F626-15BB-4E4C-814C-82EC6A5DDD96}"/>
          </ac:picMkLst>
        </pc:picChg>
        <pc:picChg chg="mod">
          <ac:chgData name="Tsz Him SUEN" userId="da5993a8-f7f5-432e-85e3-268aabf1f3b0" providerId="ADAL" clId="{F3F6435A-1998-4F3F-8277-10FD213785FB}" dt="2019-05-07T19:40:55.262" v="859" actId="14826"/>
          <ac:picMkLst>
            <pc:docMk/>
            <pc:sldMk cId="3861644279" sldId="342"/>
            <ac:picMk id="37" creationId="{0F637108-31EE-4E49-BFDD-EF629FF8A77E}"/>
          </ac:picMkLst>
        </pc:picChg>
      </pc:sldChg>
      <pc:sldChg chg="addSp delSp modSp add delAnim modAnim">
        <pc:chgData name="Tsz Him SUEN" userId="da5993a8-f7f5-432e-85e3-268aabf1f3b0" providerId="ADAL" clId="{F3F6435A-1998-4F3F-8277-10FD213785FB}" dt="2019-05-07T22:01:32.290" v="2650"/>
        <pc:sldMkLst>
          <pc:docMk/>
          <pc:sldMk cId="1603301259" sldId="343"/>
        </pc:sldMkLst>
        <pc:spChg chg="mod">
          <ac:chgData name="Tsz Him SUEN" userId="da5993a8-f7f5-432e-85e3-268aabf1f3b0" providerId="ADAL" clId="{F3F6435A-1998-4F3F-8277-10FD213785FB}" dt="2019-05-07T21:15:34.242" v="1135" actId="20577"/>
          <ac:spMkLst>
            <pc:docMk/>
            <pc:sldMk cId="1603301259" sldId="343"/>
            <ac:spMk id="2" creationId="{0C13FA11-E8EB-40E9-AC0E-C17A3306EE45}"/>
          </ac:spMkLst>
        </pc:spChg>
        <pc:spChg chg="del">
          <ac:chgData name="Tsz Him SUEN" userId="da5993a8-f7f5-432e-85e3-268aabf1f3b0" providerId="ADAL" clId="{F3F6435A-1998-4F3F-8277-10FD213785FB}" dt="2019-05-07T21:15:43.472" v="1136" actId="478"/>
          <ac:spMkLst>
            <pc:docMk/>
            <pc:sldMk cId="1603301259" sldId="343"/>
            <ac:spMk id="3" creationId="{FE6355E4-528E-43B4-A566-56C2FCBB98A1}"/>
          </ac:spMkLst>
        </pc:spChg>
        <pc:spChg chg="mod">
          <ac:chgData name="Tsz Him SUEN" userId="da5993a8-f7f5-432e-85e3-268aabf1f3b0" providerId="ADAL" clId="{F3F6435A-1998-4F3F-8277-10FD213785FB}" dt="2019-05-07T21:21:23.543" v="1213"/>
          <ac:spMkLst>
            <pc:docMk/>
            <pc:sldMk cId="1603301259" sldId="343"/>
            <ac:spMk id="6" creationId="{636D71F6-ED8D-4C36-9FA9-1003944F364F}"/>
          </ac:spMkLst>
        </pc:spChg>
        <pc:spChg chg="add mod">
          <ac:chgData name="Tsz Him SUEN" userId="da5993a8-f7f5-432e-85e3-268aabf1f3b0" providerId="ADAL" clId="{F3F6435A-1998-4F3F-8277-10FD213785FB}" dt="2019-05-07T22:01:32.290" v="2650"/>
          <ac:spMkLst>
            <pc:docMk/>
            <pc:sldMk cId="1603301259" sldId="343"/>
            <ac:spMk id="10" creationId="{316E651C-B11E-48FC-84A0-09B612989B4B}"/>
          </ac:spMkLst>
        </pc:spChg>
        <pc:spChg chg="del">
          <ac:chgData name="Tsz Him SUEN" userId="da5993a8-f7f5-432e-85e3-268aabf1f3b0" providerId="ADAL" clId="{F3F6435A-1998-4F3F-8277-10FD213785FB}" dt="2019-05-07T21:15:43.472" v="1136" actId="478"/>
          <ac:spMkLst>
            <pc:docMk/>
            <pc:sldMk cId="1603301259" sldId="343"/>
            <ac:spMk id="14" creationId="{E8753AD5-E58B-49C7-9615-F375BFF25B20}"/>
          </ac:spMkLst>
        </pc:spChg>
        <pc:grpChg chg="del">
          <ac:chgData name="Tsz Him SUEN" userId="da5993a8-f7f5-432e-85e3-268aabf1f3b0" providerId="ADAL" clId="{F3F6435A-1998-4F3F-8277-10FD213785FB}" dt="2019-05-07T21:15:43.472" v="1136" actId="478"/>
          <ac:grpSpMkLst>
            <pc:docMk/>
            <pc:sldMk cId="1603301259" sldId="343"/>
            <ac:grpSpMk id="8" creationId="{BCA5E841-1E78-4B72-B3AD-3EE0B1A5114E}"/>
          </ac:grpSpMkLst>
        </pc:grpChg>
        <pc:grpChg chg="del">
          <ac:chgData name="Tsz Him SUEN" userId="da5993a8-f7f5-432e-85e3-268aabf1f3b0" providerId="ADAL" clId="{F3F6435A-1998-4F3F-8277-10FD213785FB}" dt="2019-05-07T21:15:43.472" v="1136" actId="478"/>
          <ac:grpSpMkLst>
            <pc:docMk/>
            <pc:sldMk cId="1603301259" sldId="343"/>
            <ac:grpSpMk id="9" creationId="{A7E4DA6F-C05D-498C-8D3A-DD58990A8087}"/>
          </ac:grpSpMkLst>
        </pc:grpChg>
        <pc:grpChg chg="del">
          <ac:chgData name="Tsz Him SUEN" userId="da5993a8-f7f5-432e-85e3-268aabf1f3b0" providerId="ADAL" clId="{F3F6435A-1998-4F3F-8277-10FD213785FB}" dt="2019-05-07T21:15:43.472" v="1136" actId="478"/>
          <ac:grpSpMkLst>
            <pc:docMk/>
            <pc:sldMk cId="1603301259" sldId="343"/>
            <ac:grpSpMk id="11" creationId="{57EFFAEF-2540-494A-B46E-DB65D8EEF69B}"/>
          </ac:grpSpMkLst>
        </pc:grpChg>
        <pc:grpChg chg="del">
          <ac:chgData name="Tsz Him SUEN" userId="da5993a8-f7f5-432e-85e3-268aabf1f3b0" providerId="ADAL" clId="{F3F6435A-1998-4F3F-8277-10FD213785FB}" dt="2019-05-07T21:15:43.472" v="1136" actId="478"/>
          <ac:grpSpMkLst>
            <pc:docMk/>
            <pc:sldMk cId="1603301259" sldId="343"/>
            <ac:grpSpMk id="29" creationId="{7CB22BA8-5A32-4415-B2EB-E398A3A52EFA}"/>
          </ac:grpSpMkLst>
        </pc:grpChg>
        <pc:grpChg chg="del">
          <ac:chgData name="Tsz Him SUEN" userId="da5993a8-f7f5-432e-85e3-268aabf1f3b0" providerId="ADAL" clId="{F3F6435A-1998-4F3F-8277-10FD213785FB}" dt="2019-05-07T21:15:43.472" v="1136" actId="478"/>
          <ac:grpSpMkLst>
            <pc:docMk/>
            <pc:sldMk cId="1603301259" sldId="343"/>
            <ac:grpSpMk id="34" creationId="{ACBC61AF-A873-471B-9180-D8FCAF1122BF}"/>
          </ac:grpSpMkLst>
        </pc:grpChg>
        <pc:picChg chg="add del">
          <ac:chgData name="Tsz Him SUEN" userId="da5993a8-f7f5-432e-85e3-268aabf1f3b0" providerId="ADAL" clId="{F3F6435A-1998-4F3F-8277-10FD213785FB}" dt="2019-05-07T21:16:31.524" v="1138"/>
          <ac:picMkLst>
            <pc:docMk/>
            <pc:sldMk cId="1603301259" sldId="343"/>
            <ac:picMk id="7170" creationId="{4F3B689D-021B-480A-B2D4-D2E895C99095}"/>
          </ac:picMkLst>
        </pc:picChg>
        <pc:picChg chg="add mod">
          <ac:chgData name="Tsz Him SUEN" userId="da5993a8-f7f5-432e-85e3-268aabf1f3b0" providerId="ADAL" clId="{F3F6435A-1998-4F3F-8277-10FD213785FB}" dt="2019-05-07T21:17:48.416" v="1162" actId="408"/>
          <ac:picMkLst>
            <pc:docMk/>
            <pc:sldMk cId="1603301259" sldId="343"/>
            <ac:picMk id="7172" creationId="{8AF30D48-8110-49CE-9535-EA1435BB444F}"/>
          </ac:picMkLst>
        </pc:picChg>
        <pc:picChg chg="add mod">
          <ac:chgData name="Tsz Him SUEN" userId="da5993a8-f7f5-432e-85e3-268aabf1f3b0" providerId="ADAL" clId="{F3F6435A-1998-4F3F-8277-10FD213785FB}" dt="2019-05-07T21:17:48.416" v="1162" actId="408"/>
          <ac:picMkLst>
            <pc:docMk/>
            <pc:sldMk cId="1603301259" sldId="343"/>
            <ac:picMk id="7174" creationId="{FF7320B4-45D4-45F2-BE7F-F1CAF2FEA82C}"/>
          </ac:picMkLst>
        </pc:picChg>
        <pc:picChg chg="add mod">
          <ac:chgData name="Tsz Him SUEN" userId="da5993a8-f7f5-432e-85e3-268aabf1f3b0" providerId="ADAL" clId="{F3F6435A-1998-4F3F-8277-10FD213785FB}" dt="2019-05-07T21:17:48.416" v="1162" actId="408"/>
          <ac:picMkLst>
            <pc:docMk/>
            <pc:sldMk cId="1603301259" sldId="343"/>
            <ac:picMk id="7176" creationId="{8922B7F8-F97E-4C09-9CB7-A8815E98B3B8}"/>
          </ac:picMkLst>
        </pc:picChg>
        <pc:picChg chg="add mod">
          <ac:chgData name="Tsz Him SUEN" userId="da5993a8-f7f5-432e-85e3-268aabf1f3b0" providerId="ADAL" clId="{F3F6435A-1998-4F3F-8277-10FD213785FB}" dt="2019-05-07T21:17:12.254" v="1154" actId="1076"/>
          <ac:picMkLst>
            <pc:docMk/>
            <pc:sldMk cId="1603301259" sldId="343"/>
            <ac:picMk id="7178" creationId="{EC24057A-2C0E-4C2F-8730-F89553E21901}"/>
          </ac:picMkLst>
        </pc:picChg>
        <pc:picChg chg="add mod">
          <ac:chgData name="Tsz Him SUEN" userId="da5993a8-f7f5-432e-85e3-268aabf1f3b0" providerId="ADAL" clId="{F3F6435A-1998-4F3F-8277-10FD213785FB}" dt="2019-05-07T21:17:53.309" v="1163" actId="1076"/>
          <ac:picMkLst>
            <pc:docMk/>
            <pc:sldMk cId="1603301259" sldId="343"/>
            <ac:picMk id="7180" creationId="{E5E6B313-5AAD-4332-BFFB-BC526E9D2031}"/>
          </ac:picMkLst>
        </pc:picChg>
        <pc:picChg chg="add mod">
          <ac:chgData name="Tsz Him SUEN" userId="da5993a8-f7f5-432e-85e3-268aabf1f3b0" providerId="ADAL" clId="{F3F6435A-1998-4F3F-8277-10FD213785FB}" dt="2019-05-07T21:17:34.598" v="1160" actId="14100"/>
          <ac:picMkLst>
            <pc:docMk/>
            <pc:sldMk cId="1603301259" sldId="343"/>
            <ac:picMk id="7182" creationId="{7C201871-974D-41CD-BC5C-40E9E5B9B579}"/>
          </ac:picMkLst>
        </pc:picChg>
      </pc:sldChg>
      <pc:sldChg chg="addSp modSp add del">
        <pc:chgData name="Tsz Him SUEN" userId="da5993a8-f7f5-432e-85e3-268aabf1f3b0" providerId="ADAL" clId="{F3F6435A-1998-4F3F-8277-10FD213785FB}" dt="2019-05-07T21:26:35.392" v="1569" actId="2696"/>
        <pc:sldMkLst>
          <pc:docMk/>
          <pc:sldMk cId="34121124" sldId="344"/>
        </pc:sldMkLst>
        <pc:spChg chg="mod">
          <ac:chgData name="Tsz Him SUEN" userId="da5993a8-f7f5-432e-85e3-268aabf1f3b0" providerId="ADAL" clId="{F3F6435A-1998-4F3F-8277-10FD213785FB}" dt="2019-05-07T21:23:37.475" v="1329" actId="20577"/>
          <ac:spMkLst>
            <pc:docMk/>
            <pc:sldMk cId="34121124" sldId="344"/>
            <ac:spMk id="2" creationId="{0C13FA11-E8EB-40E9-AC0E-C17A3306EE45}"/>
          </ac:spMkLst>
        </pc:spChg>
        <pc:spChg chg="mod">
          <ac:chgData name="Tsz Him SUEN" userId="da5993a8-f7f5-432e-85e3-268aabf1f3b0" providerId="ADAL" clId="{F3F6435A-1998-4F3F-8277-10FD213785FB}" dt="2019-05-07T21:21:14.616" v="1208" actId="20577"/>
          <ac:spMkLst>
            <pc:docMk/>
            <pc:sldMk cId="34121124" sldId="344"/>
            <ac:spMk id="6" creationId="{636D71F6-ED8D-4C36-9FA9-1003944F364F}"/>
          </ac:spMkLst>
        </pc:spChg>
        <pc:spChg chg="add mod">
          <ac:chgData name="Tsz Him SUEN" userId="da5993a8-f7f5-432e-85e3-268aabf1f3b0" providerId="ADAL" clId="{F3F6435A-1998-4F3F-8277-10FD213785FB}" dt="2019-05-07T21:23:09.891" v="1319" actId="14100"/>
          <ac:spMkLst>
            <pc:docMk/>
            <pc:sldMk cId="34121124" sldId="344"/>
            <ac:spMk id="10" creationId="{B0F9C774-A5DC-43A9-A599-42370F98C04E}"/>
          </ac:spMkLst>
        </pc:spChg>
        <pc:spChg chg="add mod">
          <ac:chgData name="Tsz Him SUEN" userId="da5993a8-f7f5-432e-85e3-268aabf1f3b0" providerId="ADAL" clId="{F3F6435A-1998-4F3F-8277-10FD213785FB}" dt="2019-05-07T21:22:57.341" v="1317" actId="465"/>
          <ac:spMkLst>
            <pc:docMk/>
            <pc:sldMk cId="34121124" sldId="344"/>
            <ac:spMk id="11" creationId="{C4A47A3D-937F-4366-B19F-667988F1C7DC}"/>
          </ac:spMkLst>
        </pc:spChg>
        <pc:spChg chg="add mod">
          <ac:chgData name="Tsz Him SUEN" userId="da5993a8-f7f5-432e-85e3-268aabf1f3b0" providerId="ADAL" clId="{F3F6435A-1998-4F3F-8277-10FD213785FB}" dt="2019-05-07T21:22:57.341" v="1317" actId="465"/>
          <ac:spMkLst>
            <pc:docMk/>
            <pc:sldMk cId="34121124" sldId="344"/>
            <ac:spMk id="12" creationId="{F8BB5154-2170-42D1-843B-EF6EB7439DCF}"/>
          </ac:spMkLst>
        </pc:spChg>
        <pc:spChg chg="add mod">
          <ac:chgData name="Tsz Him SUEN" userId="da5993a8-f7f5-432e-85e3-268aabf1f3b0" providerId="ADAL" clId="{F3F6435A-1998-4F3F-8277-10FD213785FB}" dt="2019-05-07T21:22:57.341" v="1317" actId="465"/>
          <ac:spMkLst>
            <pc:docMk/>
            <pc:sldMk cId="34121124" sldId="344"/>
            <ac:spMk id="13" creationId="{546B8F57-2488-4D6A-A2B4-8224716FA366}"/>
          </ac:spMkLst>
        </pc:spChg>
      </pc:sldChg>
      <pc:sldChg chg="addSp modSp add modAnim">
        <pc:chgData name="Tsz Him SUEN" userId="da5993a8-f7f5-432e-85e3-268aabf1f3b0" providerId="ADAL" clId="{F3F6435A-1998-4F3F-8277-10FD213785FB}" dt="2019-05-07T22:01:32.290" v="2650"/>
        <pc:sldMkLst>
          <pc:docMk/>
          <pc:sldMk cId="2546331716" sldId="345"/>
        </pc:sldMkLst>
        <pc:spChg chg="add mod">
          <ac:chgData name="Tsz Him SUEN" userId="da5993a8-f7f5-432e-85e3-268aabf1f3b0" providerId="ADAL" clId="{F3F6435A-1998-4F3F-8277-10FD213785FB}" dt="2019-05-07T22:01:32.290" v="2650"/>
          <ac:spMkLst>
            <pc:docMk/>
            <pc:sldMk cId="2546331716" sldId="345"/>
            <ac:spMk id="3" creationId="{FF890440-E961-4526-BDA5-57FA184FF995}"/>
          </ac:spMkLst>
        </pc:spChg>
        <pc:spChg chg="add mod">
          <ac:chgData name="Tsz Him SUEN" userId="da5993a8-f7f5-432e-85e3-268aabf1f3b0" providerId="ADAL" clId="{F3F6435A-1998-4F3F-8277-10FD213785FB}" dt="2019-05-07T21:26:18.876" v="1568" actId="113"/>
          <ac:spMkLst>
            <pc:docMk/>
            <pc:sldMk cId="2546331716" sldId="345"/>
            <ac:spMk id="14" creationId="{7293071D-94AF-4286-8310-75D805696E54}"/>
          </ac:spMkLst>
        </pc:spChg>
      </pc:sldChg>
      <pc:sldChg chg="addSp delSp modSp add modAnim">
        <pc:chgData name="Tsz Him SUEN" userId="da5993a8-f7f5-432e-85e3-268aabf1f3b0" providerId="ADAL" clId="{F3F6435A-1998-4F3F-8277-10FD213785FB}" dt="2019-05-07T22:03:35.402" v="2727" actId="478"/>
        <pc:sldMkLst>
          <pc:docMk/>
          <pc:sldMk cId="3445176742" sldId="346"/>
        </pc:sldMkLst>
        <pc:spChg chg="mod">
          <ac:chgData name="Tsz Him SUEN" userId="da5993a8-f7f5-432e-85e3-268aabf1f3b0" providerId="ADAL" clId="{F3F6435A-1998-4F3F-8277-10FD213785FB}" dt="2019-05-07T21:53:48.784" v="2436" actId="20577"/>
          <ac:spMkLst>
            <pc:docMk/>
            <pc:sldMk cId="3445176742" sldId="346"/>
            <ac:spMk id="2" creationId="{0C13FA11-E8EB-40E9-AC0E-C17A3306EE45}"/>
          </ac:spMkLst>
        </pc:spChg>
        <pc:spChg chg="add del mod">
          <ac:chgData name="Tsz Him SUEN" userId="da5993a8-f7f5-432e-85e3-268aabf1f3b0" providerId="ADAL" clId="{F3F6435A-1998-4F3F-8277-10FD213785FB}" dt="2019-05-07T22:03:35.402" v="2727" actId="478"/>
          <ac:spMkLst>
            <pc:docMk/>
            <pc:sldMk cId="3445176742" sldId="346"/>
            <ac:spMk id="4" creationId="{06941D9C-3364-41B4-8854-4CDDEC93EB5D}"/>
          </ac:spMkLst>
        </pc:spChg>
        <pc:spChg chg="mod">
          <ac:chgData name="Tsz Him SUEN" userId="da5993a8-f7f5-432e-85e3-268aabf1f3b0" providerId="ADAL" clId="{F3F6435A-1998-4F3F-8277-10FD213785FB}" dt="2019-05-07T21:44:08.030" v="1871" actId="6549"/>
          <ac:spMkLst>
            <pc:docMk/>
            <pc:sldMk cId="3445176742" sldId="346"/>
            <ac:spMk id="6" creationId="{636D71F6-ED8D-4C36-9FA9-1003944F364F}"/>
          </ac:spMkLst>
        </pc:spChg>
        <pc:spChg chg="del">
          <ac:chgData name="Tsz Him SUEN" userId="da5993a8-f7f5-432e-85e3-268aabf1f3b0" providerId="ADAL" clId="{F3F6435A-1998-4F3F-8277-10FD213785FB}" dt="2019-05-07T21:27:15.139" v="1575" actId="478"/>
          <ac:spMkLst>
            <pc:docMk/>
            <pc:sldMk cId="3445176742" sldId="346"/>
            <ac:spMk id="10" creationId="{B0F9C774-A5DC-43A9-A599-42370F98C04E}"/>
          </ac:spMkLst>
        </pc:spChg>
        <pc:spChg chg="del">
          <ac:chgData name="Tsz Him SUEN" userId="da5993a8-f7f5-432e-85e3-268aabf1f3b0" providerId="ADAL" clId="{F3F6435A-1998-4F3F-8277-10FD213785FB}" dt="2019-05-07T21:27:15.139" v="1575" actId="478"/>
          <ac:spMkLst>
            <pc:docMk/>
            <pc:sldMk cId="3445176742" sldId="346"/>
            <ac:spMk id="11" creationId="{C4A47A3D-937F-4366-B19F-667988F1C7DC}"/>
          </ac:spMkLst>
        </pc:spChg>
        <pc:spChg chg="del">
          <ac:chgData name="Tsz Him SUEN" userId="da5993a8-f7f5-432e-85e3-268aabf1f3b0" providerId="ADAL" clId="{F3F6435A-1998-4F3F-8277-10FD213785FB}" dt="2019-05-07T21:27:15.139" v="1575" actId="478"/>
          <ac:spMkLst>
            <pc:docMk/>
            <pc:sldMk cId="3445176742" sldId="346"/>
            <ac:spMk id="12" creationId="{F8BB5154-2170-42D1-843B-EF6EB7439DCF}"/>
          </ac:spMkLst>
        </pc:spChg>
        <pc:spChg chg="del">
          <ac:chgData name="Tsz Him SUEN" userId="da5993a8-f7f5-432e-85e3-268aabf1f3b0" providerId="ADAL" clId="{F3F6435A-1998-4F3F-8277-10FD213785FB}" dt="2019-05-07T21:27:15.139" v="1575" actId="478"/>
          <ac:spMkLst>
            <pc:docMk/>
            <pc:sldMk cId="3445176742" sldId="346"/>
            <ac:spMk id="13" creationId="{546B8F57-2488-4D6A-A2B4-8224716FA366}"/>
          </ac:spMkLst>
        </pc:spChg>
        <pc:spChg chg="del">
          <ac:chgData name="Tsz Him SUEN" userId="da5993a8-f7f5-432e-85e3-268aabf1f3b0" providerId="ADAL" clId="{F3F6435A-1998-4F3F-8277-10FD213785FB}" dt="2019-05-07T21:27:15.139" v="1575" actId="478"/>
          <ac:spMkLst>
            <pc:docMk/>
            <pc:sldMk cId="3445176742" sldId="346"/>
            <ac:spMk id="14" creationId="{7293071D-94AF-4286-8310-75D805696E54}"/>
          </ac:spMkLst>
        </pc:spChg>
        <pc:spChg chg="add mod">
          <ac:chgData name="Tsz Him SUEN" userId="da5993a8-f7f5-432e-85e3-268aabf1f3b0" providerId="ADAL" clId="{F3F6435A-1998-4F3F-8277-10FD213785FB}" dt="2019-05-07T21:40:34.491" v="1703" actId="1076"/>
          <ac:spMkLst>
            <pc:docMk/>
            <pc:sldMk cId="3445176742" sldId="346"/>
            <ac:spMk id="15" creationId="{EBA15EA7-0E43-42EF-9E4E-016F229F3852}"/>
          </ac:spMkLst>
        </pc:spChg>
        <pc:spChg chg="add mod">
          <ac:chgData name="Tsz Him SUEN" userId="da5993a8-f7f5-432e-85e3-268aabf1f3b0" providerId="ADAL" clId="{F3F6435A-1998-4F3F-8277-10FD213785FB}" dt="2019-05-07T21:40:34.491" v="1703" actId="1076"/>
          <ac:spMkLst>
            <pc:docMk/>
            <pc:sldMk cId="3445176742" sldId="346"/>
            <ac:spMk id="16" creationId="{FCD47930-837B-4B68-A342-C8EB1F5F3F41}"/>
          </ac:spMkLst>
        </pc:spChg>
        <pc:spChg chg="add mod">
          <ac:chgData name="Tsz Him SUEN" userId="da5993a8-f7f5-432e-85e3-268aabf1f3b0" providerId="ADAL" clId="{F3F6435A-1998-4F3F-8277-10FD213785FB}" dt="2019-05-07T21:40:37.515" v="1704" actId="1076"/>
          <ac:spMkLst>
            <pc:docMk/>
            <pc:sldMk cId="3445176742" sldId="346"/>
            <ac:spMk id="17" creationId="{2DB5CBF9-56A3-407F-9DFC-43904E4B87C4}"/>
          </ac:spMkLst>
        </pc:spChg>
        <pc:spChg chg="add mod">
          <ac:chgData name="Tsz Him SUEN" userId="da5993a8-f7f5-432e-85e3-268aabf1f3b0" providerId="ADAL" clId="{F3F6435A-1998-4F3F-8277-10FD213785FB}" dt="2019-05-07T21:42:44.778" v="1753" actId="20577"/>
          <ac:spMkLst>
            <pc:docMk/>
            <pc:sldMk cId="3445176742" sldId="346"/>
            <ac:spMk id="18" creationId="{60D1D157-187D-43E7-A5F7-9F4B6D4AA32F}"/>
          </ac:spMkLst>
        </pc:spChg>
        <pc:spChg chg="add mod">
          <ac:chgData name="Tsz Him SUEN" userId="da5993a8-f7f5-432e-85e3-268aabf1f3b0" providerId="ADAL" clId="{F3F6435A-1998-4F3F-8277-10FD213785FB}" dt="2019-05-07T21:53:37.133" v="2426" actId="20577"/>
          <ac:spMkLst>
            <pc:docMk/>
            <pc:sldMk cId="3445176742" sldId="346"/>
            <ac:spMk id="19" creationId="{609E66C1-1582-4BE3-B4A7-1C9ED8399FE9}"/>
          </ac:spMkLst>
        </pc:spChg>
        <pc:spChg chg="add mod">
          <ac:chgData name="Tsz Him SUEN" userId="da5993a8-f7f5-432e-85e3-268aabf1f3b0" providerId="ADAL" clId="{F3F6435A-1998-4F3F-8277-10FD213785FB}" dt="2019-05-07T21:43:41.083" v="1870" actId="20577"/>
          <ac:spMkLst>
            <pc:docMk/>
            <pc:sldMk cId="3445176742" sldId="346"/>
            <ac:spMk id="20" creationId="{E75CB10C-891F-4365-BAF1-581EF4FF9C09}"/>
          </ac:spMkLst>
        </pc:spChg>
        <pc:spChg chg="add mod">
          <ac:chgData name="Tsz Him SUEN" userId="da5993a8-f7f5-432e-85e3-268aabf1f3b0" providerId="ADAL" clId="{F3F6435A-1998-4F3F-8277-10FD213785FB}" dt="2019-05-07T21:53:09.765" v="2331" actId="20577"/>
          <ac:spMkLst>
            <pc:docMk/>
            <pc:sldMk cId="3445176742" sldId="346"/>
            <ac:spMk id="23" creationId="{59C6A2CD-CE65-4374-8DB6-41E877CBA364}"/>
          </ac:spMkLst>
        </pc:spChg>
        <pc:picChg chg="add mod">
          <ac:chgData name="Tsz Him SUEN" userId="da5993a8-f7f5-432e-85e3-268aabf1f3b0" providerId="ADAL" clId="{F3F6435A-1998-4F3F-8277-10FD213785FB}" dt="2019-05-07T21:51:46.407" v="2236" actId="14100"/>
          <ac:picMkLst>
            <pc:docMk/>
            <pc:sldMk cId="3445176742" sldId="346"/>
            <ac:picMk id="3" creationId="{17799CBF-4C59-4D43-A940-A0024721ADFC}"/>
          </ac:picMkLst>
        </pc:picChg>
        <pc:picChg chg="del">
          <ac:chgData name="Tsz Him SUEN" userId="da5993a8-f7f5-432e-85e3-268aabf1f3b0" providerId="ADAL" clId="{F3F6435A-1998-4F3F-8277-10FD213785FB}" dt="2019-05-07T21:27:15.139" v="1575" actId="478"/>
          <ac:picMkLst>
            <pc:docMk/>
            <pc:sldMk cId="3445176742" sldId="346"/>
            <ac:picMk id="7172" creationId="{8AF30D48-8110-49CE-9535-EA1435BB444F}"/>
          </ac:picMkLst>
        </pc:picChg>
        <pc:picChg chg="del">
          <ac:chgData name="Tsz Him SUEN" userId="da5993a8-f7f5-432e-85e3-268aabf1f3b0" providerId="ADAL" clId="{F3F6435A-1998-4F3F-8277-10FD213785FB}" dt="2019-05-07T21:27:15.139" v="1575" actId="478"/>
          <ac:picMkLst>
            <pc:docMk/>
            <pc:sldMk cId="3445176742" sldId="346"/>
            <ac:picMk id="7174" creationId="{FF7320B4-45D4-45F2-BE7F-F1CAF2FEA82C}"/>
          </ac:picMkLst>
        </pc:picChg>
        <pc:picChg chg="del">
          <ac:chgData name="Tsz Him SUEN" userId="da5993a8-f7f5-432e-85e3-268aabf1f3b0" providerId="ADAL" clId="{F3F6435A-1998-4F3F-8277-10FD213785FB}" dt="2019-05-07T21:27:15.139" v="1575" actId="478"/>
          <ac:picMkLst>
            <pc:docMk/>
            <pc:sldMk cId="3445176742" sldId="346"/>
            <ac:picMk id="7176" creationId="{8922B7F8-F97E-4C09-9CB7-A8815E98B3B8}"/>
          </ac:picMkLst>
        </pc:picChg>
        <pc:picChg chg="del">
          <ac:chgData name="Tsz Him SUEN" userId="da5993a8-f7f5-432e-85e3-268aabf1f3b0" providerId="ADAL" clId="{F3F6435A-1998-4F3F-8277-10FD213785FB}" dt="2019-05-07T21:27:15.139" v="1575" actId="478"/>
          <ac:picMkLst>
            <pc:docMk/>
            <pc:sldMk cId="3445176742" sldId="346"/>
            <ac:picMk id="7178" creationId="{EC24057A-2C0E-4C2F-8730-F89553E21901}"/>
          </ac:picMkLst>
        </pc:picChg>
        <pc:picChg chg="del">
          <ac:chgData name="Tsz Him SUEN" userId="da5993a8-f7f5-432e-85e3-268aabf1f3b0" providerId="ADAL" clId="{F3F6435A-1998-4F3F-8277-10FD213785FB}" dt="2019-05-07T21:27:15.139" v="1575" actId="478"/>
          <ac:picMkLst>
            <pc:docMk/>
            <pc:sldMk cId="3445176742" sldId="346"/>
            <ac:picMk id="7180" creationId="{E5E6B313-5AAD-4332-BFFB-BC526E9D2031}"/>
          </ac:picMkLst>
        </pc:picChg>
        <pc:picChg chg="del">
          <ac:chgData name="Tsz Him SUEN" userId="da5993a8-f7f5-432e-85e3-268aabf1f3b0" providerId="ADAL" clId="{F3F6435A-1998-4F3F-8277-10FD213785FB}" dt="2019-05-07T21:27:15.139" v="1575" actId="478"/>
          <ac:picMkLst>
            <pc:docMk/>
            <pc:sldMk cId="3445176742" sldId="346"/>
            <ac:picMk id="7182" creationId="{7C201871-974D-41CD-BC5C-40E9E5B9B579}"/>
          </ac:picMkLst>
        </pc:picChg>
        <pc:picChg chg="add mod">
          <ac:chgData name="Tsz Him SUEN" userId="da5993a8-f7f5-432e-85e3-268aabf1f3b0" providerId="ADAL" clId="{F3F6435A-1998-4F3F-8277-10FD213785FB}" dt="2019-05-07T21:42:48.850" v="1754" actId="14100"/>
          <ac:picMkLst>
            <pc:docMk/>
            <pc:sldMk cId="3445176742" sldId="346"/>
            <ac:picMk id="9218" creationId="{AADD88D7-E386-4383-8B2C-04F228FC9D3D}"/>
          </ac:picMkLst>
        </pc:picChg>
      </pc:sldChg>
      <pc:sldChg chg="addSp delSp modSp add modAnim">
        <pc:chgData name="Tsz Him SUEN" userId="da5993a8-f7f5-432e-85e3-268aabf1f3b0" providerId="ADAL" clId="{F3F6435A-1998-4F3F-8277-10FD213785FB}" dt="2019-05-07T22:03:09.147" v="2726" actId="20577"/>
        <pc:sldMkLst>
          <pc:docMk/>
          <pc:sldMk cId="228477441" sldId="347"/>
        </pc:sldMkLst>
        <pc:spChg chg="mod">
          <ac:chgData name="Tsz Him SUEN" userId="da5993a8-f7f5-432e-85e3-268aabf1f3b0" providerId="ADAL" clId="{F3F6435A-1998-4F3F-8277-10FD213785FB}" dt="2019-05-07T21:50:53.488" v="2231" actId="20577"/>
          <ac:spMkLst>
            <pc:docMk/>
            <pc:sldMk cId="228477441" sldId="347"/>
            <ac:spMk id="2" creationId="{0C13FA11-E8EB-40E9-AC0E-C17A3306EE45}"/>
          </ac:spMkLst>
        </pc:spChg>
        <pc:spChg chg="del">
          <ac:chgData name="Tsz Him SUEN" userId="da5993a8-f7f5-432e-85e3-268aabf1f3b0" providerId="ADAL" clId="{F3F6435A-1998-4F3F-8277-10FD213785FB}" dt="2019-05-07T21:46:18.675" v="1880" actId="478"/>
          <ac:spMkLst>
            <pc:docMk/>
            <pc:sldMk cId="228477441" sldId="347"/>
            <ac:spMk id="6" creationId="{636D71F6-ED8D-4C36-9FA9-1003944F364F}"/>
          </ac:spMkLst>
        </pc:spChg>
        <pc:spChg chg="add mod">
          <ac:chgData name="Tsz Him SUEN" userId="da5993a8-f7f5-432e-85e3-268aabf1f3b0" providerId="ADAL" clId="{F3F6435A-1998-4F3F-8277-10FD213785FB}" dt="2019-05-07T22:03:01.588" v="2718" actId="20577"/>
          <ac:spMkLst>
            <pc:docMk/>
            <pc:sldMk cId="228477441" sldId="347"/>
            <ac:spMk id="8" creationId="{0C81596B-8B18-41CC-9B0C-1D0C91ABDD4E}"/>
          </ac:spMkLst>
        </pc:spChg>
        <pc:spChg chg="add mod">
          <ac:chgData name="Tsz Him SUEN" userId="da5993a8-f7f5-432e-85e3-268aabf1f3b0" providerId="ADAL" clId="{F3F6435A-1998-4F3F-8277-10FD213785FB}" dt="2019-05-07T22:02:50.489" v="2707" actId="20577"/>
          <ac:spMkLst>
            <pc:docMk/>
            <pc:sldMk cId="228477441" sldId="347"/>
            <ac:spMk id="9" creationId="{CDAD92C5-6259-482F-8AF5-266DB063416C}"/>
          </ac:spMkLst>
        </pc:spChg>
        <pc:spChg chg="add del mod">
          <ac:chgData name="Tsz Him SUEN" userId="da5993a8-f7f5-432e-85e3-268aabf1f3b0" providerId="ADAL" clId="{F3F6435A-1998-4F3F-8277-10FD213785FB}" dt="2019-05-07T21:48:39.775" v="2029" actId="478"/>
          <ac:spMkLst>
            <pc:docMk/>
            <pc:sldMk cId="228477441" sldId="347"/>
            <ac:spMk id="10" creationId="{B08C215C-CB33-425F-8198-88A74CA0D484}"/>
          </ac:spMkLst>
        </pc:spChg>
        <pc:spChg chg="add mod">
          <ac:chgData name="Tsz Him SUEN" userId="da5993a8-f7f5-432e-85e3-268aabf1f3b0" providerId="ADAL" clId="{F3F6435A-1998-4F3F-8277-10FD213785FB}" dt="2019-05-07T22:02:45.736" v="2706" actId="1076"/>
          <ac:spMkLst>
            <pc:docMk/>
            <pc:sldMk cId="228477441" sldId="347"/>
            <ac:spMk id="11" creationId="{8214761A-80AB-4EF4-85C9-FD6D1B645991}"/>
          </ac:spMkLst>
        </pc:spChg>
        <pc:spChg chg="add mod">
          <ac:chgData name="Tsz Him SUEN" userId="da5993a8-f7f5-432e-85e3-268aabf1f3b0" providerId="ADAL" clId="{F3F6435A-1998-4F3F-8277-10FD213785FB}" dt="2019-05-07T22:03:09.147" v="2726" actId="20577"/>
          <ac:spMkLst>
            <pc:docMk/>
            <pc:sldMk cId="228477441" sldId="347"/>
            <ac:spMk id="12" creationId="{DE700FD0-A0A5-4885-9C98-5E118DD9DE65}"/>
          </ac:spMkLst>
        </pc:spChg>
        <pc:picChg chg="add mod">
          <ac:chgData name="Tsz Him SUEN" userId="da5993a8-f7f5-432e-85e3-268aabf1f3b0" providerId="ADAL" clId="{F3F6435A-1998-4F3F-8277-10FD213785FB}" dt="2019-05-07T21:47:27.152" v="1918" actId="14100"/>
          <ac:picMkLst>
            <pc:docMk/>
            <pc:sldMk cId="228477441" sldId="347"/>
            <ac:picMk id="4" creationId="{7032306D-296D-4CBB-9833-E817D8477056}"/>
          </ac:picMkLst>
        </pc:picChg>
        <pc:picChg chg="add mod">
          <ac:chgData name="Tsz Him SUEN" userId="da5993a8-f7f5-432e-85e3-268aabf1f3b0" providerId="ADAL" clId="{F3F6435A-1998-4F3F-8277-10FD213785FB}" dt="2019-05-07T21:47:30.633" v="1920" actId="14100"/>
          <ac:picMkLst>
            <pc:docMk/>
            <pc:sldMk cId="228477441" sldId="347"/>
            <ac:picMk id="7" creationId="{4342F42A-C193-4C73-A280-66535828422D}"/>
          </ac:picMkLst>
        </pc:picChg>
      </pc:sldChg>
      <pc:sldChg chg="addSp delSp modSp add delAnim">
        <pc:chgData name="Tsz Him SUEN" userId="da5993a8-f7f5-432e-85e3-268aabf1f3b0" providerId="ADAL" clId="{F3F6435A-1998-4F3F-8277-10FD213785FB}" dt="2019-05-07T22:01:21.525" v="2648"/>
        <pc:sldMkLst>
          <pc:docMk/>
          <pc:sldMk cId="2131798245" sldId="348"/>
        </pc:sldMkLst>
        <pc:spChg chg="mod">
          <ac:chgData name="Tsz Him SUEN" userId="da5993a8-f7f5-432e-85e3-268aabf1f3b0" providerId="ADAL" clId="{F3F6435A-1998-4F3F-8277-10FD213785FB}" dt="2019-05-07T21:54:19.746" v="2500" actId="20577"/>
          <ac:spMkLst>
            <pc:docMk/>
            <pc:sldMk cId="2131798245" sldId="348"/>
            <ac:spMk id="2" creationId="{0C13FA11-E8EB-40E9-AC0E-C17A3306EE45}"/>
          </ac:spMkLst>
        </pc:spChg>
        <pc:spChg chg="add mod">
          <ac:chgData name="Tsz Him SUEN" userId="da5993a8-f7f5-432e-85e3-268aabf1f3b0" providerId="ADAL" clId="{F3F6435A-1998-4F3F-8277-10FD213785FB}" dt="2019-05-07T22:01:21.525" v="2648"/>
          <ac:spMkLst>
            <pc:docMk/>
            <pc:sldMk cId="2131798245" sldId="348"/>
            <ac:spMk id="3" creationId="{853A8A0E-AF27-4802-8CA5-2F4964010A11}"/>
          </ac:spMkLst>
        </pc:spChg>
        <pc:spChg chg="del">
          <ac:chgData name="Tsz Him SUEN" userId="da5993a8-f7f5-432e-85e3-268aabf1f3b0" providerId="ADAL" clId="{F3F6435A-1998-4F3F-8277-10FD213785FB}" dt="2019-05-07T21:54:26.752" v="2501" actId="478"/>
          <ac:spMkLst>
            <pc:docMk/>
            <pc:sldMk cId="2131798245" sldId="348"/>
            <ac:spMk id="8" creationId="{0C81596B-8B18-41CC-9B0C-1D0C91ABDD4E}"/>
          </ac:spMkLst>
        </pc:spChg>
        <pc:spChg chg="del">
          <ac:chgData name="Tsz Him SUEN" userId="da5993a8-f7f5-432e-85e3-268aabf1f3b0" providerId="ADAL" clId="{F3F6435A-1998-4F3F-8277-10FD213785FB}" dt="2019-05-07T21:54:26.752" v="2501" actId="478"/>
          <ac:spMkLst>
            <pc:docMk/>
            <pc:sldMk cId="2131798245" sldId="348"/>
            <ac:spMk id="9" creationId="{CDAD92C5-6259-482F-8AF5-266DB063416C}"/>
          </ac:spMkLst>
        </pc:spChg>
        <pc:spChg chg="del">
          <ac:chgData name="Tsz Him SUEN" userId="da5993a8-f7f5-432e-85e3-268aabf1f3b0" providerId="ADAL" clId="{F3F6435A-1998-4F3F-8277-10FD213785FB}" dt="2019-05-07T21:54:26.752" v="2501" actId="478"/>
          <ac:spMkLst>
            <pc:docMk/>
            <pc:sldMk cId="2131798245" sldId="348"/>
            <ac:spMk id="11" creationId="{8214761A-80AB-4EF4-85C9-FD6D1B645991}"/>
          </ac:spMkLst>
        </pc:spChg>
        <pc:picChg chg="del">
          <ac:chgData name="Tsz Him SUEN" userId="da5993a8-f7f5-432e-85e3-268aabf1f3b0" providerId="ADAL" clId="{F3F6435A-1998-4F3F-8277-10FD213785FB}" dt="2019-05-07T21:54:26.752" v="2501" actId="478"/>
          <ac:picMkLst>
            <pc:docMk/>
            <pc:sldMk cId="2131798245" sldId="348"/>
            <ac:picMk id="4" creationId="{7032306D-296D-4CBB-9833-E817D8477056}"/>
          </ac:picMkLst>
        </pc:picChg>
        <pc:picChg chg="del">
          <ac:chgData name="Tsz Him SUEN" userId="da5993a8-f7f5-432e-85e3-268aabf1f3b0" providerId="ADAL" clId="{F3F6435A-1998-4F3F-8277-10FD213785FB}" dt="2019-05-07T21:54:26.752" v="2501" actId="478"/>
          <ac:picMkLst>
            <pc:docMk/>
            <pc:sldMk cId="2131798245" sldId="348"/>
            <ac:picMk id="7" creationId="{4342F42A-C193-4C73-A280-66535828422D}"/>
          </ac:picMkLst>
        </pc:picChg>
      </pc:sldChg>
      <pc:sldChg chg="addSp modSp add">
        <pc:chgData name="Tsz Him SUEN" userId="da5993a8-f7f5-432e-85e3-268aabf1f3b0" providerId="ADAL" clId="{F3F6435A-1998-4F3F-8277-10FD213785FB}" dt="2019-05-07T22:01:12.943" v="2647"/>
        <pc:sldMkLst>
          <pc:docMk/>
          <pc:sldMk cId="3272287945" sldId="349"/>
        </pc:sldMkLst>
        <pc:spChg chg="mod">
          <ac:chgData name="Tsz Him SUEN" userId="da5993a8-f7f5-432e-85e3-268aabf1f3b0" providerId="ADAL" clId="{F3F6435A-1998-4F3F-8277-10FD213785FB}" dt="2019-05-07T21:54:37.596" v="2529" actId="20577"/>
          <ac:spMkLst>
            <pc:docMk/>
            <pc:sldMk cId="3272287945" sldId="349"/>
            <ac:spMk id="2" creationId="{0C13FA11-E8EB-40E9-AC0E-C17A3306EE45}"/>
          </ac:spMkLst>
        </pc:spChg>
        <pc:spChg chg="add mod">
          <ac:chgData name="Tsz Him SUEN" userId="da5993a8-f7f5-432e-85e3-268aabf1f3b0" providerId="ADAL" clId="{F3F6435A-1998-4F3F-8277-10FD213785FB}" dt="2019-05-07T22:01:12.943" v="2647"/>
          <ac:spMkLst>
            <pc:docMk/>
            <pc:sldMk cId="3272287945" sldId="349"/>
            <ac:spMk id="3" creationId="{4DA7B684-5373-4791-92FF-3A1C5DB70761}"/>
          </ac:spMkLst>
        </pc:spChg>
      </pc:sldChg>
      <pc:sldChg chg="add del">
        <pc:chgData name="Tsz Him SUEN" userId="da5993a8-f7f5-432e-85e3-268aabf1f3b0" providerId="ADAL" clId="{F3F6435A-1998-4F3F-8277-10FD213785FB}" dt="2019-05-07T22:01:01.139" v="2646" actId="2696"/>
        <pc:sldMkLst>
          <pc:docMk/>
          <pc:sldMk cId="426644632" sldId="350"/>
        </pc:sldMkLst>
      </pc:sldChg>
      <pc:sldChg chg="add">
        <pc:chgData name="Tsz Him SUEN" userId="da5993a8-f7f5-432e-85e3-268aabf1f3b0" providerId="ADAL" clId="{F3F6435A-1998-4F3F-8277-10FD213785FB}" dt="2019-05-07T21:55:01.509" v="2531"/>
        <pc:sldMkLst>
          <pc:docMk/>
          <pc:sldMk cId="3397016060" sldId="351"/>
        </pc:sldMkLst>
      </pc:sldChg>
      <pc:sldChg chg="addSp delSp modSp add ord">
        <pc:chgData name="Tsz Him SUEN" userId="da5993a8-f7f5-432e-85e3-268aabf1f3b0" providerId="ADAL" clId="{F3F6435A-1998-4F3F-8277-10FD213785FB}" dt="2019-05-07T22:04:01.913" v="2730" actId="1076"/>
        <pc:sldMkLst>
          <pc:docMk/>
          <pc:sldMk cId="618594674" sldId="352"/>
        </pc:sldMkLst>
        <pc:spChg chg="mod">
          <ac:chgData name="Tsz Him SUEN" userId="da5993a8-f7f5-432e-85e3-268aabf1f3b0" providerId="ADAL" clId="{F3F6435A-1998-4F3F-8277-10FD213785FB}" dt="2019-05-07T21:56:42.270" v="2584" actId="20577"/>
          <ac:spMkLst>
            <pc:docMk/>
            <pc:sldMk cId="618594674" sldId="352"/>
            <ac:spMk id="2" creationId="{3F980A7C-F85F-4554-884F-0A8623816B45}"/>
          </ac:spMkLst>
        </pc:spChg>
        <pc:spChg chg="del">
          <ac:chgData name="Tsz Him SUEN" userId="da5993a8-f7f5-432e-85e3-268aabf1f3b0" providerId="ADAL" clId="{F3F6435A-1998-4F3F-8277-10FD213785FB}" dt="2019-05-07T22:01:12.943" v="2647"/>
          <ac:spMkLst>
            <pc:docMk/>
            <pc:sldMk cId="618594674" sldId="352"/>
            <ac:spMk id="3" creationId="{19B32086-0BF5-482D-B22D-D74E16EB10E4}"/>
          </ac:spMkLst>
        </pc:spChg>
        <pc:spChg chg="add del mod">
          <ac:chgData name="Tsz Him SUEN" userId="da5993a8-f7f5-432e-85e3-268aabf1f3b0" providerId="ADAL" clId="{F3F6435A-1998-4F3F-8277-10FD213785FB}" dt="2019-05-07T21:56:09.466" v="2541"/>
          <ac:spMkLst>
            <pc:docMk/>
            <pc:sldMk cId="618594674" sldId="352"/>
            <ac:spMk id="5" creationId="{FCD3FEBA-795C-4CF2-B0DF-50474CB7F963}"/>
          </ac:spMkLst>
        </pc:spChg>
        <pc:spChg chg="add del">
          <ac:chgData name="Tsz Him SUEN" userId="da5993a8-f7f5-432e-85e3-268aabf1f3b0" providerId="ADAL" clId="{F3F6435A-1998-4F3F-8277-10FD213785FB}" dt="2019-05-07T21:56:14.429" v="2543"/>
          <ac:spMkLst>
            <pc:docMk/>
            <pc:sldMk cId="618594674" sldId="352"/>
            <ac:spMk id="6" creationId="{8FE5E72B-4337-4E1A-9E93-CB80491CF877}"/>
          </ac:spMkLst>
        </pc:spChg>
        <pc:spChg chg="add">
          <ac:chgData name="Tsz Him SUEN" userId="da5993a8-f7f5-432e-85e3-268aabf1f3b0" providerId="ADAL" clId="{F3F6435A-1998-4F3F-8277-10FD213785FB}" dt="2019-05-07T21:56:16.968" v="2544"/>
          <ac:spMkLst>
            <pc:docMk/>
            <pc:sldMk cId="618594674" sldId="352"/>
            <ac:spMk id="8" creationId="{EC0915A4-EFE3-46A3-B21B-ED0A848364B8}"/>
          </ac:spMkLst>
        </pc:spChg>
        <pc:spChg chg="add mod">
          <ac:chgData name="Tsz Him SUEN" userId="da5993a8-f7f5-432e-85e3-268aabf1f3b0" providerId="ADAL" clId="{F3F6435A-1998-4F3F-8277-10FD213785FB}" dt="2019-05-07T22:01:12.943" v="2647"/>
          <ac:spMkLst>
            <pc:docMk/>
            <pc:sldMk cId="618594674" sldId="352"/>
            <ac:spMk id="9" creationId="{69B6393F-1900-4471-86CD-7CCA1625ACF4}"/>
          </ac:spMkLst>
        </pc:spChg>
        <pc:spChg chg="add mod">
          <ac:chgData name="Tsz Him SUEN" userId="da5993a8-f7f5-432e-85e3-268aabf1f3b0" providerId="ADAL" clId="{F3F6435A-1998-4F3F-8277-10FD213785FB}" dt="2019-05-07T22:04:01.913" v="2730" actId="1076"/>
          <ac:spMkLst>
            <pc:docMk/>
            <pc:sldMk cId="618594674" sldId="352"/>
            <ac:spMk id="10" creationId="{5127B35E-A207-4B5B-9384-301DB2DAD5BC}"/>
          </ac:spMkLst>
        </pc:spChg>
        <pc:graphicFrameChg chg="add del mod">
          <ac:chgData name="Tsz Him SUEN" userId="da5993a8-f7f5-432e-85e3-268aabf1f3b0" providerId="ADAL" clId="{F3F6435A-1998-4F3F-8277-10FD213785FB}" dt="2019-05-07T21:56:09.466" v="2541"/>
          <ac:graphicFrameMkLst>
            <pc:docMk/>
            <pc:sldMk cId="618594674" sldId="352"/>
            <ac:graphicFrameMk id="4" creationId="{3AF674D4-1AAB-4281-94F5-30FA14DAD3ED}"/>
          </ac:graphicFrameMkLst>
        </pc:graphicFrameChg>
        <pc:graphicFrameChg chg="add mod modGraphic">
          <ac:chgData name="Tsz Him SUEN" userId="da5993a8-f7f5-432e-85e3-268aabf1f3b0" providerId="ADAL" clId="{F3F6435A-1998-4F3F-8277-10FD213785FB}" dt="2019-05-07T21:57:38.699" v="2599" actId="122"/>
          <ac:graphicFrameMkLst>
            <pc:docMk/>
            <pc:sldMk cId="618594674" sldId="352"/>
            <ac:graphicFrameMk id="7" creationId="{189C1958-D4DD-4E1A-973E-CBD7A2DD99C3}"/>
          </ac:graphicFrameMkLst>
        </pc:graphicFrameChg>
        <pc:picChg chg="add mod">
          <ac:chgData name="Tsz Him SUEN" userId="da5993a8-f7f5-432e-85e3-268aabf1f3b0" providerId="ADAL" clId="{F3F6435A-1998-4F3F-8277-10FD213785FB}" dt="2019-05-07T22:03:56.256" v="2729" actId="1076"/>
          <ac:picMkLst>
            <pc:docMk/>
            <pc:sldMk cId="618594674" sldId="352"/>
            <ac:picMk id="11268" creationId="{7552D867-EAD6-4681-B9CC-A23C4A9B360F}"/>
          </ac:picMkLst>
        </pc:picChg>
      </pc:sldChg>
      <pc:sldChg chg="addSp delSp modSp add delAnim">
        <pc:chgData name="Tsz Him SUEN" userId="da5993a8-f7f5-432e-85e3-268aabf1f3b0" providerId="ADAL" clId="{F3F6435A-1998-4F3F-8277-10FD213785FB}" dt="2019-05-07T22:13:35.433" v="3203" actId="207"/>
        <pc:sldMkLst>
          <pc:docMk/>
          <pc:sldMk cId="4064535388" sldId="353"/>
        </pc:sldMkLst>
        <pc:spChg chg="mod">
          <ac:chgData name="Tsz Him SUEN" userId="da5993a8-f7f5-432e-85e3-268aabf1f3b0" providerId="ADAL" clId="{F3F6435A-1998-4F3F-8277-10FD213785FB}" dt="2019-05-07T22:04:35.596" v="2751" actId="20577"/>
          <ac:spMkLst>
            <pc:docMk/>
            <pc:sldMk cId="4064535388" sldId="353"/>
            <ac:spMk id="2" creationId="{0C13FA11-E8EB-40E9-AC0E-C17A3306EE45}"/>
          </ac:spMkLst>
        </pc:spChg>
        <pc:spChg chg="mod">
          <ac:chgData name="Tsz Him SUEN" userId="da5993a8-f7f5-432e-85e3-268aabf1f3b0" providerId="ADAL" clId="{F3F6435A-1998-4F3F-8277-10FD213785FB}" dt="2019-05-07T22:05:36.647" v="2886" actId="1076"/>
          <ac:spMkLst>
            <pc:docMk/>
            <pc:sldMk cId="4064535388" sldId="353"/>
            <ac:spMk id="3" creationId="{FE6355E4-528E-43B4-A566-56C2FCBB98A1}"/>
          </ac:spMkLst>
        </pc:spChg>
        <pc:spChg chg="mod">
          <ac:chgData name="Tsz Him SUEN" userId="da5993a8-f7f5-432e-85e3-268aabf1f3b0" providerId="ADAL" clId="{F3F6435A-1998-4F3F-8277-10FD213785FB}" dt="2019-05-07T22:06:36.970" v="2915" actId="6549"/>
          <ac:spMkLst>
            <pc:docMk/>
            <pc:sldMk cId="4064535388" sldId="353"/>
            <ac:spMk id="6" creationId="{636D71F6-ED8D-4C36-9FA9-1003944F364F}"/>
          </ac:spMkLst>
        </pc:spChg>
        <pc:spChg chg="del">
          <ac:chgData name="Tsz Him SUEN" userId="da5993a8-f7f5-432e-85e3-268aabf1f3b0" providerId="ADAL" clId="{F3F6435A-1998-4F3F-8277-10FD213785FB}" dt="2019-05-07T22:05:46.431" v="2887" actId="478"/>
          <ac:spMkLst>
            <pc:docMk/>
            <pc:sldMk cId="4064535388" sldId="353"/>
            <ac:spMk id="12" creationId="{9E1BE002-7051-4EEA-896F-BD728E40ECC8}"/>
          </ac:spMkLst>
        </pc:spChg>
        <pc:spChg chg="mod">
          <ac:chgData name="Tsz Him SUEN" userId="da5993a8-f7f5-432e-85e3-268aabf1f3b0" providerId="ADAL" clId="{F3F6435A-1998-4F3F-8277-10FD213785FB}" dt="2019-05-07T22:04:38.909" v="2754" actId="6549"/>
          <ac:spMkLst>
            <pc:docMk/>
            <pc:sldMk cId="4064535388" sldId="353"/>
            <ac:spMk id="14" creationId="{E8753AD5-E58B-49C7-9615-F375BFF25B20}"/>
          </ac:spMkLst>
        </pc:spChg>
        <pc:spChg chg="add mod">
          <ac:chgData name="Tsz Him SUEN" userId="da5993a8-f7f5-432e-85e3-268aabf1f3b0" providerId="ADAL" clId="{F3F6435A-1998-4F3F-8277-10FD213785FB}" dt="2019-05-07T22:13:20.513" v="3202" actId="12789"/>
          <ac:spMkLst>
            <pc:docMk/>
            <pc:sldMk cId="4064535388" sldId="353"/>
            <ac:spMk id="38" creationId="{EA2DFE4F-F3D3-4978-B81E-8C34F52AE54A}"/>
          </ac:spMkLst>
        </pc:spChg>
        <pc:spChg chg="add mod">
          <ac:chgData name="Tsz Him SUEN" userId="da5993a8-f7f5-432e-85e3-268aabf1f3b0" providerId="ADAL" clId="{F3F6435A-1998-4F3F-8277-10FD213785FB}" dt="2019-05-07T22:11:18.134" v="3092" actId="404"/>
          <ac:spMkLst>
            <pc:docMk/>
            <pc:sldMk cId="4064535388" sldId="353"/>
            <ac:spMk id="39" creationId="{D3DD73CB-E4FF-416D-91D6-B8339243782B}"/>
          </ac:spMkLst>
        </pc:spChg>
        <pc:spChg chg="add mod">
          <ac:chgData name="Tsz Him SUEN" userId="da5993a8-f7f5-432e-85e3-268aabf1f3b0" providerId="ADAL" clId="{F3F6435A-1998-4F3F-8277-10FD213785FB}" dt="2019-05-07T22:11:18.134" v="3092" actId="404"/>
          <ac:spMkLst>
            <pc:docMk/>
            <pc:sldMk cId="4064535388" sldId="353"/>
            <ac:spMk id="40" creationId="{A3D071F9-4128-47B3-8EB2-027FA88086A1}"/>
          </ac:spMkLst>
        </pc:spChg>
        <pc:spChg chg="add mod">
          <ac:chgData name="Tsz Him SUEN" userId="da5993a8-f7f5-432e-85e3-268aabf1f3b0" providerId="ADAL" clId="{F3F6435A-1998-4F3F-8277-10FD213785FB}" dt="2019-05-07T22:11:18.134" v="3092" actId="404"/>
          <ac:spMkLst>
            <pc:docMk/>
            <pc:sldMk cId="4064535388" sldId="353"/>
            <ac:spMk id="41" creationId="{45BBFC96-C23A-4CDC-B23A-6D1563BBCFE3}"/>
          </ac:spMkLst>
        </pc:spChg>
        <pc:spChg chg="add mod">
          <ac:chgData name="Tsz Him SUEN" userId="da5993a8-f7f5-432e-85e3-268aabf1f3b0" providerId="ADAL" clId="{F3F6435A-1998-4F3F-8277-10FD213785FB}" dt="2019-05-07T22:11:18.134" v="3092" actId="404"/>
          <ac:spMkLst>
            <pc:docMk/>
            <pc:sldMk cId="4064535388" sldId="353"/>
            <ac:spMk id="42" creationId="{BD152806-5075-4190-A1D9-3C2CE7EC080B}"/>
          </ac:spMkLst>
        </pc:spChg>
        <pc:spChg chg="add mod">
          <ac:chgData name="Tsz Him SUEN" userId="da5993a8-f7f5-432e-85e3-268aabf1f3b0" providerId="ADAL" clId="{F3F6435A-1998-4F3F-8277-10FD213785FB}" dt="2019-05-07T22:11:13.504" v="3091" actId="404"/>
          <ac:spMkLst>
            <pc:docMk/>
            <pc:sldMk cId="4064535388" sldId="353"/>
            <ac:spMk id="47" creationId="{C38425D8-3208-42F8-8410-16D6B013A5D8}"/>
          </ac:spMkLst>
        </pc:spChg>
        <pc:spChg chg="add mod">
          <ac:chgData name="Tsz Him SUEN" userId="da5993a8-f7f5-432e-85e3-268aabf1f3b0" providerId="ADAL" clId="{F3F6435A-1998-4F3F-8277-10FD213785FB}" dt="2019-05-07T22:10:43.610" v="3089" actId="207"/>
          <ac:spMkLst>
            <pc:docMk/>
            <pc:sldMk cId="4064535388" sldId="353"/>
            <ac:spMk id="48" creationId="{1122C31A-A7F0-47C8-B22F-9B943A66C692}"/>
          </ac:spMkLst>
        </pc:spChg>
        <pc:spChg chg="add del">
          <ac:chgData name="Tsz Him SUEN" userId="da5993a8-f7f5-432e-85e3-268aabf1f3b0" providerId="ADAL" clId="{F3F6435A-1998-4F3F-8277-10FD213785FB}" dt="2019-05-07T22:12:03.905" v="3094"/>
          <ac:spMkLst>
            <pc:docMk/>
            <pc:sldMk cId="4064535388" sldId="353"/>
            <ac:spMk id="49" creationId="{3F830D08-F436-4B56-9059-777FF064D438}"/>
          </ac:spMkLst>
        </pc:spChg>
        <pc:spChg chg="add mod">
          <ac:chgData name="Tsz Him SUEN" userId="da5993a8-f7f5-432e-85e3-268aabf1f3b0" providerId="ADAL" clId="{F3F6435A-1998-4F3F-8277-10FD213785FB}" dt="2019-05-07T22:13:35.433" v="3203" actId="207"/>
          <ac:spMkLst>
            <pc:docMk/>
            <pc:sldMk cId="4064535388" sldId="353"/>
            <ac:spMk id="50" creationId="{73DA204A-3E66-4F60-ACDD-8E816CB264A6}"/>
          </ac:spMkLst>
        </pc:spChg>
        <pc:grpChg chg="del">
          <ac:chgData name="Tsz Him SUEN" userId="da5993a8-f7f5-432e-85e3-268aabf1f3b0" providerId="ADAL" clId="{F3F6435A-1998-4F3F-8277-10FD213785FB}" dt="2019-05-07T22:06:07.117" v="2888" actId="478"/>
          <ac:grpSpMkLst>
            <pc:docMk/>
            <pc:sldMk cId="4064535388" sldId="353"/>
            <ac:grpSpMk id="8" creationId="{BCA5E841-1E78-4B72-B3AD-3EE0B1A5114E}"/>
          </ac:grpSpMkLst>
        </pc:grpChg>
        <pc:grpChg chg="del">
          <ac:chgData name="Tsz Him SUEN" userId="da5993a8-f7f5-432e-85e3-268aabf1f3b0" providerId="ADAL" clId="{F3F6435A-1998-4F3F-8277-10FD213785FB}" dt="2019-05-07T22:06:07.117" v="2888" actId="478"/>
          <ac:grpSpMkLst>
            <pc:docMk/>
            <pc:sldMk cId="4064535388" sldId="353"/>
            <ac:grpSpMk id="9" creationId="{A7E4DA6F-C05D-498C-8D3A-DD58990A8087}"/>
          </ac:grpSpMkLst>
        </pc:grpChg>
        <pc:grpChg chg="del">
          <ac:chgData name="Tsz Him SUEN" userId="da5993a8-f7f5-432e-85e3-268aabf1f3b0" providerId="ADAL" clId="{F3F6435A-1998-4F3F-8277-10FD213785FB}" dt="2019-05-07T22:06:07.117" v="2888" actId="478"/>
          <ac:grpSpMkLst>
            <pc:docMk/>
            <pc:sldMk cId="4064535388" sldId="353"/>
            <ac:grpSpMk id="11" creationId="{57EFFAEF-2540-494A-B46E-DB65D8EEF69B}"/>
          </ac:grpSpMkLst>
        </pc:grpChg>
        <pc:grpChg chg="del">
          <ac:chgData name="Tsz Him SUEN" userId="da5993a8-f7f5-432e-85e3-268aabf1f3b0" providerId="ADAL" clId="{F3F6435A-1998-4F3F-8277-10FD213785FB}" dt="2019-05-07T22:06:07.117" v="2888" actId="478"/>
          <ac:grpSpMkLst>
            <pc:docMk/>
            <pc:sldMk cId="4064535388" sldId="353"/>
            <ac:grpSpMk id="29" creationId="{7CB22BA8-5A32-4415-B2EB-E398A3A52EFA}"/>
          </ac:grpSpMkLst>
        </pc:grpChg>
        <pc:grpChg chg="del">
          <ac:chgData name="Tsz Him SUEN" userId="da5993a8-f7f5-432e-85e3-268aabf1f3b0" providerId="ADAL" clId="{F3F6435A-1998-4F3F-8277-10FD213785FB}" dt="2019-05-07T22:06:07.117" v="2888" actId="478"/>
          <ac:grpSpMkLst>
            <pc:docMk/>
            <pc:sldMk cId="4064535388" sldId="353"/>
            <ac:grpSpMk id="34" creationId="{ACBC61AF-A873-471B-9180-D8FCAF1122BF}"/>
          </ac:grpSpMkLst>
        </pc:grpChg>
        <pc:cxnChg chg="add mod">
          <ac:chgData name="Tsz Him SUEN" userId="da5993a8-f7f5-432e-85e3-268aabf1f3b0" providerId="ADAL" clId="{F3F6435A-1998-4F3F-8277-10FD213785FB}" dt="2019-05-07T22:13:20.513" v="3202" actId="12789"/>
          <ac:cxnSpMkLst>
            <pc:docMk/>
            <pc:sldMk cId="4064535388" sldId="353"/>
            <ac:cxnSpMk id="13" creationId="{FD8EC2CB-5BA0-4FD2-B2DA-403ABD0D9247}"/>
          </ac:cxnSpMkLst>
        </pc:cxnChg>
        <pc:cxnChg chg="add mod">
          <ac:chgData name="Tsz Him SUEN" userId="da5993a8-f7f5-432e-85e3-268aabf1f3b0" providerId="ADAL" clId="{F3F6435A-1998-4F3F-8277-10FD213785FB}" dt="2019-05-07T22:09:20.407" v="3012" actId="1076"/>
          <ac:cxnSpMkLst>
            <pc:docMk/>
            <pc:sldMk cId="4064535388" sldId="353"/>
            <ac:cxnSpMk id="16" creationId="{FD6D1A90-42C9-4C7F-9ACB-AAE2C764F6DB}"/>
          </ac:cxnSpMkLst>
        </pc:cxnChg>
        <pc:cxnChg chg="add mod">
          <ac:chgData name="Tsz Him SUEN" userId="da5993a8-f7f5-432e-85e3-268aabf1f3b0" providerId="ADAL" clId="{F3F6435A-1998-4F3F-8277-10FD213785FB}" dt="2019-05-07T22:09:20.407" v="3012" actId="1076"/>
          <ac:cxnSpMkLst>
            <pc:docMk/>
            <pc:sldMk cId="4064535388" sldId="353"/>
            <ac:cxnSpMk id="18" creationId="{A9BC15A2-3BF5-4255-B34C-67F724DB2110}"/>
          </ac:cxnSpMkLst>
        </pc:cxnChg>
        <pc:cxnChg chg="add mod">
          <ac:chgData name="Tsz Him SUEN" userId="da5993a8-f7f5-432e-85e3-268aabf1f3b0" providerId="ADAL" clId="{F3F6435A-1998-4F3F-8277-10FD213785FB}" dt="2019-05-07T22:09:20.407" v="3012" actId="1076"/>
          <ac:cxnSpMkLst>
            <pc:docMk/>
            <pc:sldMk cId="4064535388" sldId="353"/>
            <ac:cxnSpMk id="20" creationId="{035A99E5-A169-43F9-ADA0-13CBA732DDD6}"/>
          </ac:cxnSpMkLst>
        </pc:cxnChg>
        <pc:cxnChg chg="add mod">
          <ac:chgData name="Tsz Him SUEN" userId="da5993a8-f7f5-432e-85e3-268aabf1f3b0" providerId="ADAL" clId="{F3F6435A-1998-4F3F-8277-10FD213785FB}" dt="2019-05-07T22:09:20.407" v="3012" actId="1076"/>
          <ac:cxnSpMkLst>
            <pc:docMk/>
            <pc:sldMk cId="4064535388" sldId="353"/>
            <ac:cxnSpMk id="45" creationId="{590706BE-C66A-4A4D-965B-65A60356480C}"/>
          </ac:cxnSpMkLst>
        </pc:cxnChg>
      </pc:sldChg>
      <pc:sldChg chg="addSp modSp add">
        <pc:chgData name="Tsz Him SUEN" userId="da5993a8-f7f5-432e-85e3-268aabf1f3b0" providerId="ADAL" clId="{F3F6435A-1998-4F3F-8277-10FD213785FB}" dt="2019-05-07T22:20:52.301" v="3616" actId="1076"/>
        <pc:sldMkLst>
          <pc:docMk/>
          <pc:sldMk cId="923641421" sldId="354"/>
        </pc:sldMkLst>
        <pc:spChg chg="mod">
          <ac:chgData name="Tsz Him SUEN" userId="da5993a8-f7f5-432e-85e3-268aabf1f3b0" providerId="ADAL" clId="{F3F6435A-1998-4F3F-8277-10FD213785FB}" dt="2019-05-07T22:14:02.556" v="3214" actId="20577"/>
          <ac:spMkLst>
            <pc:docMk/>
            <pc:sldMk cId="923641421" sldId="354"/>
            <ac:spMk id="2" creationId="{CCA215FB-237C-4D21-B225-1404E16897A5}"/>
          </ac:spMkLst>
        </pc:spChg>
        <pc:spChg chg="mod">
          <ac:chgData name="Tsz Him SUEN" userId="da5993a8-f7f5-432e-85e3-268aabf1f3b0" providerId="ADAL" clId="{F3F6435A-1998-4F3F-8277-10FD213785FB}" dt="2019-05-07T22:20:43.706" v="3615" actId="1076"/>
          <ac:spMkLst>
            <pc:docMk/>
            <pc:sldMk cId="923641421" sldId="354"/>
            <ac:spMk id="3" creationId="{A89D3630-7951-4407-A9CF-F11D287E1075}"/>
          </ac:spMkLst>
        </pc:spChg>
        <pc:spChg chg="add mod">
          <ac:chgData name="Tsz Him SUEN" userId="da5993a8-f7f5-432e-85e3-268aabf1f3b0" providerId="ADAL" clId="{F3F6435A-1998-4F3F-8277-10FD213785FB}" dt="2019-05-07T22:20:52.301" v="3616" actId="1076"/>
          <ac:spMkLst>
            <pc:docMk/>
            <pc:sldMk cId="923641421" sldId="354"/>
            <ac:spMk id="4" creationId="{32819C17-4850-42ED-8C58-B71417A6FFC9}"/>
          </ac:spMkLst>
        </pc:spChg>
        <pc:spChg chg="add mod">
          <ac:chgData name="Tsz Him SUEN" userId="da5993a8-f7f5-432e-85e3-268aabf1f3b0" providerId="ADAL" clId="{F3F6435A-1998-4F3F-8277-10FD213785FB}" dt="2019-05-07T22:20:52.301" v="3616" actId="1076"/>
          <ac:spMkLst>
            <pc:docMk/>
            <pc:sldMk cId="923641421" sldId="354"/>
            <ac:spMk id="8" creationId="{DA2F4B91-F1AE-44EF-8450-FD3C76B54E76}"/>
          </ac:spMkLst>
        </pc:spChg>
        <pc:spChg chg="add mod">
          <ac:chgData name="Tsz Him SUEN" userId="da5993a8-f7f5-432e-85e3-268aabf1f3b0" providerId="ADAL" clId="{F3F6435A-1998-4F3F-8277-10FD213785FB}" dt="2019-05-07T22:20:52.301" v="3616" actId="1076"/>
          <ac:spMkLst>
            <pc:docMk/>
            <pc:sldMk cId="923641421" sldId="354"/>
            <ac:spMk id="14" creationId="{00B16509-268E-41C8-BB8C-4324C9039B2D}"/>
          </ac:spMkLst>
        </pc:spChg>
        <pc:spChg chg="add mod">
          <ac:chgData name="Tsz Him SUEN" userId="da5993a8-f7f5-432e-85e3-268aabf1f3b0" providerId="ADAL" clId="{F3F6435A-1998-4F3F-8277-10FD213785FB}" dt="2019-05-07T22:20:52.301" v="3616" actId="1076"/>
          <ac:spMkLst>
            <pc:docMk/>
            <pc:sldMk cId="923641421" sldId="354"/>
            <ac:spMk id="20" creationId="{0D2DC68B-B379-4E43-97FC-A892862D6F1E}"/>
          </ac:spMkLst>
        </pc:spChg>
        <pc:spChg chg="add mod">
          <ac:chgData name="Tsz Him SUEN" userId="da5993a8-f7f5-432e-85e3-268aabf1f3b0" providerId="ADAL" clId="{F3F6435A-1998-4F3F-8277-10FD213785FB}" dt="2019-05-07T22:20:52.301" v="3616" actId="1076"/>
          <ac:spMkLst>
            <pc:docMk/>
            <pc:sldMk cId="923641421" sldId="354"/>
            <ac:spMk id="26" creationId="{3832EC61-FFEC-47D2-9C57-C04007807774}"/>
          </ac:spMkLst>
        </pc:spChg>
        <pc:spChg chg="add mod">
          <ac:chgData name="Tsz Him SUEN" userId="da5993a8-f7f5-432e-85e3-268aabf1f3b0" providerId="ADAL" clId="{F3F6435A-1998-4F3F-8277-10FD213785FB}" dt="2019-05-07T22:20:52.301" v="3616" actId="1076"/>
          <ac:spMkLst>
            <pc:docMk/>
            <pc:sldMk cId="923641421" sldId="354"/>
            <ac:spMk id="35" creationId="{491EEA43-9D97-48D5-AB5D-C5505EF1F1E7}"/>
          </ac:spMkLst>
        </pc:spChg>
        <pc:spChg chg="add mod">
          <ac:chgData name="Tsz Him SUEN" userId="da5993a8-f7f5-432e-85e3-268aabf1f3b0" providerId="ADAL" clId="{F3F6435A-1998-4F3F-8277-10FD213785FB}" dt="2019-05-07T22:20:52.301" v="3616" actId="1076"/>
          <ac:spMkLst>
            <pc:docMk/>
            <pc:sldMk cId="923641421" sldId="354"/>
            <ac:spMk id="41" creationId="{9BABA1DC-F3D6-4AE8-BAD4-F8B515D20095}"/>
          </ac:spMkLst>
        </pc:spChg>
        <pc:spChg chg="add mod">
          <ac:chgData name="Tsz Him SUEN" userId="da5993a8-f7f5-432e-85e3-268aabf1f3b0" providerId="ADAL" clId="{F3F6435A-1998-4F3F-8277-10FD213785FB}" dt="2019-05-07T22:20:52.301" v="3616" actId="1076"/>
          <ac:spMkLst>
            <pc:docMk/>
            <pc:sldMk cId="923641421" sldId="354"/>
            <ac:spMk id="45" creationId="{C72B6BAE-88CD-49C6-9307-25668E82FD42}"/>
          </ac:spMkLst>
        </pc:sp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6" creationId="{1B8AFB8F-F444-44D0-912E-ADC35480939B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11" creationId="{ED52BA4D-BEDC-4169-B3A9-4C06F3C9A86A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13" creationId="{880F4AE8-65D4-44BB-956E-14EB3CB82DE4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15" creationId="{2E2CBCF2-87A9-4F05-A864-0AF15A13434E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19" creationId="{7135B149-3121-448C-AA13-52A38710E572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21" creationId="{4DE1227C-5962-41BB-B10A-562BE5474767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25" creationId="{ACD8FC68-C86C-4636-A743-7103D76E453C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27" creationId="{76BB7434-05E5-420F-AE43-D83CE07DCD74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34" creationId="{2796A549-EBF3-464B-B335-7AE34157499B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36" creationId="{564A7B22-DBA6-4A53-8A58-996668FA9E83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40" creationId="{E7BC7B0C-182B-4DED-A153-A38ADAA333C4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42" creationId="{A11A44FD-9D45-4996-912B-70C024D8ECCC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44" creationId="{D8AB00C5-A37C-4B10-A3B2-A34A388D29D9}"/>
          </ac:cxnSpMkLst>
        </pc:cxnChg>
        <pc:cxnChg chg="add mod">
          <ac:chgData name="Tsz Him SUEN" userId="da5993a8-f7f5-432e-85e3-268aabf1f3b0" providerId="ADAL" clId="{F3F6435A-1998-4F3F-8277-10FD213785FB}" dt="2019-05-07T22:20:52.301" v="3616" actId="1076"/>
          <ac:cxnSpMkLst>
            <pc:docMk/>
            <pc:sldMk cId="923641421" sldId="354"/>
            <ac:cxnSpMk id="46" creationId="{D1CDD4C1-638F-4B5E-9751-3FC274003040}"/>
          </ac:cxnSpMkLst>
        </pc:cxnChg>
      </pc:sldChg>
      <pc:sldMasterChg chg="delSp delSldLayout modSldLayout">
        <pc:chgData name="Tsz Him SUEN" userId="da5993a8-f7f5-432e-85e3-268aabf1f3b0" providerId="ADAL" clId="{F3F6435A-1998-4F3F-8277-10FD213785FB}" dt="2019-05-07T22:00:22.688" v="2645" actId="113"/>
        <pc:sldMasterMkLst>
          <pc:docMk/>
          <pc:sldMasterMk cId="0" sldId="2147483648"/>
        </pc:sldMasterMkLst>
        <pc:picChg chg="del">
          <ac:chgData name="Tsz Him SUEN" userId="da5993a8-f7f5-432e-85e3-268aabf1f3b0" providerId="ADAL" clId="{F3F6435A-1998-4F3F-8277-10FD213785FB}" dt="2019-05-07T18:54:35.234" v="0" actId="478"/>
          <ac:picMkLst>
            <pc:docMk/>
            <pc:sldMasterMk cId="0" sldId="2147483648"/>
            <ac:picMk id="8" creationId="{A0BA0AC7-955E-4B36-BA11-BC6F9E2D58AC}"/>
          </ac:picMkLst>
        </pc:picChg>
        <pc:sldLayoutChg chg="modSp">
          <pc:chgData name="Tsz Him SUEN" userId="da5993a8-f7f5-432e-85e3-268aabf1f3b0" providerId="ADAL" clId="{F3F6435A-1998-4F3F-8277-10FD213785FB}" dt="2019-05-07T21:59:15.847" v="2633" actId="113"/>
          <pc:sldLayoutMkLst>
            <pc:docMk/>
            <pc:sldMasterMk cId="0" sldId="2147483648"/>
            <pc:sldLayoutMk cId="1157347596" sldId="2147483666"/>
          </pc:sldLayoutMkLst>
          <pc:graphicFrameChg chg="mod modGraphic">
            <ac:chgData name="Tsz Him SUEN" userId="da5993a8-f7f5-432e-85e3-268aabf1f3b0" providerId="ADAL" clId="{F3F6435A-1998-4F3F-8277-10FD213785FB}" dt="2019-05-07T21:59:15.847" v="2633" actId="113"/>
            <ac:graphicFrameMkLst>
              <pc:docMk/>
              <pc:sldMasterMk cId="0" sldId="2147483648"/>
              <pc:sldLayoutMk cId="1157347596" sldId="2147483666"/>
              <ac:graphicFrameMk id="10" creationId="{AFC3411F-6033-4582-97DD-AA53203074FE}"/>
            </ac:graphicFrameMkLst>
          </pc:graphicFrameChg>
        </pc:sldLayoutChg>
        <pc:sldLayoutChg chg="del">
          <pc:chgData name="Tsz Him SUEN" userId="da5993a8-f7f5-432e-85e3-268aabf1f3b0" providerId="ADAL" clId="{F3F6435A-1998-4F3F-8277-10FD213785FB}" dt="2019-05-07T21:58:42.563" v="2624" actId="2696"/>
          <pc:sldLayoutMkLst>
            <pc:docMk/>
            <pc:sldMasterMk cId="0" sldId="2147483648"/>
            <pc:sldLayoutMk cId="1675990485" sldId="2147483667"/>
          </pc:sldLayoutMkLst>
        </pc:sldLayoutChg>
        <pc:sldLayoutChg chg="modSp">
          <pc:chgData name="Tsz Him SUEN" userId="da5993a8-f7f5-432e-85e3-268aabf1f3b0" providerId="ADAL" clId="{F3F6435A-1998-4F3F-8277-10FD213785FB}" dt="2019-05-07T21:59:43.493" v="2637" actId="113"/>
          <pc:sldLayoutMkLst>
            <pc:docMk/>
            <pc:sldMasterMk cId="0" sldId="2147483648"/>
            <pc:sldLayoutMk cId="2675772589" sldId="2147483667"/>
          </pc:sldLayoutMkLst>
          <pc:graphicFrameChg chg="modGraphic">
            <ac:chgData name="Tsz Him SUEN" userId="da5993a8-f7f5-432e-85e3-268aabf1f3b0" providerId="ADAL" clId="{F3F6435A-1998-4F3F-8277-10FD213785FB}" dt="2019-05-07T21:59:43.493" v="2637" actId="113"/>
            <ac:graphicFrameMkLst>
              <pc:docMk/>
              <pc:sldMasterMk cId="0" sldId="2147483648"/>
              <pc:sldLayoutMk cId="2675772589" sldId="2147483667"/>
              <ac:graphicFrameMk id="10" creationId="{AFC3411F-6033-4582-97DD-AA53203074FE}"/>
            </ac:graphicFrameMkLst>
          </pc:graphicFrameChg>
        </pc:sldLayoutChg>
        <pc:sldLayoutChg chg="del">
          <pc:chgData name="Tsz Him SUEN" userId="da5993a8-f7f5-432e-85e3-268aabf1f3b0" providerId="ADAL" clId="{F3F6435A-1998-4F3F-8277-10FD213785FB}" dt="2019-05-07T21:54:03.748" v="2454" actId="2696"/>
          <pc:sldLayoutMkLst>
            <pc:docMk/>
            <pc:sldMasterMk cId="0" sldId="2147483648"/>
            <pc:sldLayoutMk cId="729744623" sldId="2147483668"/>
          </pc:sldLayoutMkLst>
        </pc:sldLayoutChg>
        <pc:sldLayoutChg chg="modSp">
          <pc:chgData name="Tsz Him SUEN" userId="da5993a8-f7f5-432e-85e3-268aabf1f3b0" providerId="ADAL" clId="{F3F6435A-1998-4F3F-8277-10FD213785FB}" dt="2019-05-07T22:00:09.603" v="2641" actId="207"/>
          <pc:sldLayoutMkLst>
            <pc:docMk/>
            <pc:sldMasterMk cId="0" sldId="2147483648"/>
            <pc:sldLayoutMk cId="1549146854" sldId="2147483668"/>
          </pc:sldLayoutMkLst>
          <pc:graphicFrameChg chg="modGraphic">
            <ac:chgData name="Tsz Him SUEN" userId="da5993a8-f7f5-432e-85e3-268aabf1f3b0" providerId="ADAL" clId="{F3F6435A-1998-4F3F-8277-10FD213785FB}" dt="2019-05-07T22:00:09.603" v="2641" actId="207"/>
            <ac:graphicFrameMkLst>
              <pc:docMk/>
              <pc:sldMasterMk cId="0" sldId="2147483648"/>
              <pc:sldLayoutMk cId="1549146854" sldId="2147483668"/>
              <ac:graphicFrameMk id="10" creationId="{AFC3411F-6033-4582-97DD-AA53203074FE}"/>
            </ac:graphicFrameMkLst>
          </pc:graphicFrameChg>
        </pc:sldLayoutChg>
        <pc:sldLayoutChg chg="del">
          <pc:chgData name="Tsz Him SUEN" userId="da5993a8-f7f5-432e-85e3-268aabf1f3b0" providerId="ADAL" clId="{F3F6435A-1998-4F3F-8277-10FD213785FB}" dt="2019-05-07T21:58:42.585" v="2625" actId="2696"/>
          <pc:sldLayoutMkLst>
            <pc:docMk/>
            <pc:sldMasterMk cId="0" sldId="2147483648"/>
            <pc:sldLayoutMk cId="4244681755" sldId="2147483668"/>
          </pc:sldLayoutMkLst>
        </pc:sldLayoutChg>
        <pc:sldLayoutChg chg="del">
          <pc:chgData name="Tsz Him SUEN" userId="da5993a8-f7f5-432e-85e3-268aabf1f3b0" providerId="ADAL" clId="{F3F6435A-1998-4F3F-8277-10FD213785FB}" dt="2019-05-07T21:54:03.710" v="2452" actId="2696"/>
          <pc:sldLayoutMkLst>
            <pc:docMk/>
            <pc:sldMasterMk cId="0" sldId="2147483648"/>
            <pc:sldLayoutMk cId="1579975902" sldId="2147483669"/>
          </pc:sldLayoutMkLst>
        </pc:sldLayoutChg>
        <pc:sldLayoutChg chg="del">
          <pc:chgData name="Tsz Him SUEN" userId="da5993a8-f7f5-432e-85e3-268aabf1f3b0" providerId="ADAL" clId="{F3F6435A-1998-4F3F-8277-10FD213785FB}" dt="2019-05-07T21:58:42.607" v="2626" actId="2696"/>
          <pc:sldLayoutMkLst>
            <pc:docMk/>
            <pc:sldMasterMk cId="0" sldId="2147483648"/>
            <pc:sldLayoutMk cId="2530822855" sldId="2147483669"/>
          </pc:sldLayoutMkLst>
        </pc:sldLayoutChg>
        <pc:sldLayoutChg chg="modSp">
          <pc:chgData name="Tsz Him SUEN" userId="da5993a8-f7f5-432e-85e3-268aabf1f3b0" providerId="ADAL" clId="{F3F6435A-1998-4F3F-8277-10FD213785FB}" dt="2019-05-07T22:00:22.688" v="2645" actId="113"/>
          <pc:sldLayoutMkLst>
            <pc:docMk/>
            <pc:sldMasterMk cId="0" sldId="2147483648"/>
            <pc:sldLayoutMk cId="2565687679" sldId="2147483669"/>
          </pc:sldLayoutMkLst>
          <pc:graphicFrameChg chg="modGraphic">
            <ac:chgData name="Tsz Him SUEN" userId="da5993a8-f7f5-432e-85e3-268aabf1f3b0" providerId="ADAL" clId="{F3F6435A-1998-4F3F-8277-10FD213785FB}" dt="2019-05-07T22:00:22.688" v="2645" actId="113"/>
            <ac:graphicFrameMkLst>
              <pc:docMk/>
              <pc:sldMasterMk cId="0" sldId="2147483648"/>
              <pc:sldLayoutMk cId="2565687679" sldId="2147483669"/>
              <ac:graphicFrameMk id="10" creationId="{AFC3411F-6033-4582-97DD-AA53203074FE}"/>
            </ac:graphicFrameMkLst>
          </pc:graphicFrameChg>
        </pc:sldLayoutChg>
        <pc:sldLayoutChg chg="del">
          <pc:chgData name="Tsz Him SUEN" userId="da5993a8-f7f5-432e-85e3-268aabf1f3b0" providerId="ADAL" clId="{F3F6435A-1998-4F3F-8277-10FD213785FB}" dt="2019-05-07T21:54:03.821" v="2457" actId="2696"/>
          <pc:sldLayoutMkLst>
            <pc:docMk/>
            <pc:sldMasterMk cId="0" sldId="2147483648"/>
            <pc:sldLayoutMk cId="3276177254" sldId="2147483670"/>
          </pc:sldLayoutMkLst>
        </pc:sldLayoutChg>
        <pc:sldLayoutChg chg="del">
          <pc:chgData name="Tsz Him SUEN" userId="da5993a8-f7f5-432e-85e3-268aabf1f3b0" providerId="ADAL" clId="{F3F6435A-1998-4F3F-8277-10FD213785FB}" dt="2019-05-07T21:54:04.518" v="2470" actId="2696"/>
          <pc:sldLayoutMkLst>
            <pc:docMk/>
            <pc:sldMasterMk cId="0" sldId="2147483648"/>
            <pc:sldLayoutMk cId="4065739632" sldId="2147483671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B9C092D-607D-4E98-B8A5-F2ED5BC8A5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7924800" cy="515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A1A6D6-0F0E-48DA-86A8-36D988FAD40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0358438" y="0"/>
            <a:ext cx="7924800" cy="515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274E65-E7E0-4A9D-ACC4-EDF9286638B7}" type="datetimeFigureOut">
              <a:rPr lang="en-GB" smtClean="0"/>
              <a:t>08/05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574859-27DC-4031-91A4-6E162DF1FEB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71063"/>
            <a:ext cx="7924800" cy="515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9AEBD7-521C-4175-A763-CED083EDAED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0358438" y="9771063"/>
            <a:ext cx="7924800" cy="515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EF70F6-894F-4998-A841-0F5A8547C5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37288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924800" cy="515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0358438" y="0"/>
            <a:ext cx="7924800" cy="515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7244CC-72F0-48B9-80FA-A3F365409329}" type="datetimeFigureOut">
              <a:rPr lang="en-GB" smtClean="0"/>
              <a:t>08/05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057900" y="1285875"/>
            <a:ext cx="6172200" cy="3471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828800" y="4951413"/>
            <a:ext cx="14630400" cy="40497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71063"/>
            <a:ext cx="7924800" cy="515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0358438" y="9771063"/>
            <a:ext cx="7924800" cy="515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3A78C-4D2F-4D6C-B1F3-1089D34115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70644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3243580" y="3591940"/>
            <a:ext cx="11800839" cy="10610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800" b="0" i="1">
                <a:solidFill>
                  <a:srgbClr val="374067"/>
                </a:solidFill>
                <a:latin typeface="+mj-lt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743200" y="5760720"/>
            <a:ext cx="12801600" cy="2571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8/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250" b="0" i="1">
                <a:solidFill>
                  <a:schemeClr val="bg1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8/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250" b="0" i="1">
                <a:solidFill>
                  <a:schemeClr val="bg1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914400" y="2366010"/>
            <a:ext cx="7955280" cy="67894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9418320" y="2366010"/>
            <a:ext cx="7955280" cy="67894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8/19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250" b="0" i="1">
                <a:solidFill>
                  <a:schemeClr val="bg1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8/19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8/19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xplo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383" y="2383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2383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1340284" y="540197"/>
            <a:ext cx="15300902" cy="646331"/>
          </a:xfrm>
          <a:prstGeom prst="rect">
            <a:avLst/>
          </a:prstGeom>
        </p:spPr>
        <p:txBody>
          <a:bodyPr anchor="ctr"/>
          <a:lstStyle>
            <a:lvl1pPr>
              <a:defRPr sz="4200">
                <a:solidFill>
                  <a:srgbClr val="374067"/>
                </a:solidFill>
                <a:latin typeface="Calibri"/>
                <a:cs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693640" y="9793724"/>
            <a:ext cx="548640" cy="3693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fld id="{A87BEFEB-CDBF-4F1F-A4E5-2EF267813B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3716" y="9302792"/>
            <a:ext cx="4114800" cy="2539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5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FC3411F-6033-4582-97DD-AA53203074F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14252349"/>
              </p:ext>
            </p:extLst>
          </p:nvPr>
        </p:nvGraphicFramePr>
        <p:xfrm>
          <a:off x="1717655" y="9704070"/>
          <a:ext cx="14923530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358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735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07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07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2"/>
                          </a:solidFill>
                          <a:latin typeface="+mn-lt"/>
                          <a:cs typeface="Helvetica" panose="020B0604020202020204" pitchFamily="34" charset="0"/>
                        </a:rPr>
                        <a:t>Exploration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baseline="0">
                          <a:solidFill>
                            <a:srgbClr val="8C96C2"/>
                          </a:solidFill>
                          <a:latin typeface="+mn-lt"/>
                          <a:cs typeface="Helvetica" panose="020B0604020202020204" pitchFamily="34" charset="0"/>
                        </a:rPr>
                        <a:t>Model Walkthrough</a:t>
                      </a:r>
                      <a:endParaRPr lang="en-US" sz="2400" b="0">
                        <a:solidFill>
                          <a:srgbClr val="8C96C2"/>
                        </a:solidFill>
                        <a:latin typeface="+mn-lt"/>
                        <a:cs typeface="Helvetica" panose="020B0604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>
                          <a:solidFill>
                            <a:srgbClr val="8C96C2"/>
                          </a:solidFill>
                          <a:latin typeface="+mn-lt"/>
                          <a:cs typeface="Helvetica" panose="020B0604020202020204" pitchFamily="34" charset="0"/>
                        </a:rPr>
                        <a:t>Results Evaluation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solidFill>
                            <a:srgbClr val="8C96C2"/>
                          </a:solidFill>
                          <a:latin typeface="+mn-lt"/>
                          <a:cs typeface="Helvetica" panose="020B0604020202020204" pitchFamily="34" charset="0"/>
                        </a:rPr>
                        <a:t>Looking Forward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A9FF19E-A1B9-43C1-9058-C6FE063CEB66}"/>
              </a:ext>
            </a:extLst>
          </p:cNvPr>
          <p:cNvSpPr/>
          <p:nvPr userDrawn="1"/>
        </p:nvSpPr>
        <p:spPr>
          <a:xfrm>
            <a:off x="705066" y="540197"/>
            <a:ext cx="325677" cy="646331"/>
          </a:xfrm>
          <a:prstGeom prst="rect">
            <a:avLst/>
          </a:prstGeom>
          <a:solidFill>
            <a:srgbClr val="3740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800E1B2-C5B1-4219-91DC-F018AC96030B}"/>
              </a:ext>
            </a:extLst>
          </p:cNvPr>
          <p:cNvCxnSpPr/>
          <p:nvPr userDrawn="1"/>
        </p:nvCxnSpPr>
        <p:spPr>
          <a:xfrm flipV="1">
            <a:off x="0" y="1327091"/>
            <a:ext cx="18288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347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el walkthrou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383" y="2383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2383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1340284" y="540197"/>
            <a:ext cx="15300902" cy="646331"/>
          </a:xfrm>
          <a:prstGeom prst="rect">
            <a:avLst/>
          </a:prstGeom>
        </p:spPr>
        <p:txBody>
          <a:bodyPr anchor="ctr"/>
          <a:lstStyle>
            <a:lvl1pPr>
              <a:defRPr sz="4200">
                <a:solidFill>
                  <a:srgbClr val="374067"/>
                </a:solidFill>
                <a:latin typeface="Calibri"/>
                <a:cs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693640" y="9793724"/>
            <a:ext cx="548640" cy="3693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fld id="{A87BEFEB-CDBF-4F1F-A4E5-2EF267813B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3716" y="9302792"/>
            <a:ext cx="4114800" cy="2539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5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FC3411F-6033-4582-97DD-AA53203074F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5067931"/>
              </p:ext>
            </p:extLst>
          </p:nvPr>
        </p:nvGraphicFramePr>
        <p:xfrm>
          <a:off x="1717655" y="9704070"/>
          <a:ext cx="14923530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358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735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07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07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solidFill>
                            <a:srgbClr val="8C96C2"/>
                          </a:solidFill>
                          <a:latin typeface="+mn-lt"/>
                          <a:cs typeface="Helvetica" panose="020B0604020202020204" pitchFamily="34" charset="0"/>
                        </a:rPr>
                        <a:t>Exploration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baseline="0" dirty="0">
                          <a:solidFill>
                            <a:schemeClr val="tx2"/>
                          </a:solidFill>
                          <a:latin typeface="+mn-lt"/>
                          <a:cs typeface="Helvetica" panose="020B0604020202020204" pitchFamily="34" charset="0"/>
                        </a:rPr>
                        <a:t>Model Walkthrough</a:t>
                      </a:r>
                      <a:endParaRPr lang="en-US" sz="2400" b="1" dirty="0">
                        <a:solidFill>
                          <a:schemeClr val="tx2"/>
                        </a:solidFill>
                        <a:latin typeface="+mn-lt"/>
                        <a:cs typeface="Helvetica" panose="020B0604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>
                          <a:solidFill>
                            <a:srgbClr val="8C96C2"/>
                          </a:solidFill>
                          <a:latin typeface="+mn-lt"/>
                          <a:cs typeface="Helvetica" panose="020B0604020202020204" pitchFamily="34" charset="0"/>
                        </a:rPr>
                        <a:t>Results Evaluation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solidFill>
                            <a:srgbClr val="8C96C2"/>
                          </a:solidFill>
                          <a:latin typeface="+mn-lt"/>
                          <a:cs typeface="Helvetica" panose="020B0604020202020204" pitchFamily="34" charset="0"/>
                        </a:rPr>
                        <a:t>Looking Forward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A9FF19E-A1B9-43C1-9058-C6FE063CEB66}"/>
              </a:ext>
            </a:extLst>
          </p:cNvPr>
          <p:cNvSpPr/>
          <p:nvPr userDrawn="1"/>
        </p:nvSpPr>
        <p:spPr>
          <a:xfrm>
            <a:off x="705066" y="540197"/>
            <a:ext cx="325677" cy="646331"/>
          </a:xfrm>
          <a:prstGeom prst="rect">
            <a:avLst/>
          </a:prstGeom>
          <a:solidFill>
            <a:srgbClr val="3740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800E1B2-C5B1-4219-91DC-F018AC96030B}"/>
              </a:ext>
            </a:extLst>
          </p:cNvPr>
          <p:cNvCxnSpPr/>
          <p:nvPr userDrawn="1"/>
        </p:nvCxnSpPr>
        <p:spPr>
          <a:xfrm flipV="1">
            <a:off x="0" y="1327091"/>
            <a:ext cx="18288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5772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lts Evalu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383" y="2383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2383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1340284" y="540197"/>
            <a:ext cx="15300902" cy="646331"/>
          </a:xfrm>
          <a:prstGeom prst="rect">
            <a:avLst/>
          </a:prstGeom>
        </p:spPr>
        <p:txBody>
          <a:bodyPr anchor="ctr"/>
          <a:lstStyle>
            <a:lvl1pPr>
              <a:defRPr sz="4200">
                <a:solidFill>
                  <a:srgbClr val="374067"/>
                </a:solidFill>
                <a:latin typeface="Calibri"/>
                <a:cs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693640" y="9793724"/>
            <a:ext cx="548640" cy="3693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fld id="{A87BEFEB-CDBF-4F1F-A4E5-2EF267813B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3716" y="9302792"/>
            <a:ext cx="4114800" cy="2539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5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FC3411F-6033-4582-97DD-AA53203074F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33378349"/>
              </p:ext>
            </p:extLst>
          </p:nvPr>
        </p:nvGraphicFramePr>
        <p:xfrm>
          <a:off x="1717655" y="9704070"/>
          <a:ext cx="14923530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358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735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07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07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solidFill>
                            <a:srgbClr val="8C96C2"/>
                          </a:solidFill>
                          <a:latin typeface="+mn-lt"/>
                          <a:cs typeface="Helvetica" panose="020B0604020202020204" pitchFamily="34" charset="0"/>
                        </a:rPr>
                        <a:t>Exploration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baseline="0">
                          <a:solidFill>
                            <a:srgbClr val="8C96C2"/>
                          </a:solidFill>
                          <a:latin typeface="+mn-lt"/>
                          <a:cs typeface="Helvetica" panose="020B0604020202020204" pitchFamily="34" charset="0"/>
                        </a:rPr>
                        <a:t>Model Walkthrough</a:t>
                      </a:r>
                      <a:endParaRPr lang="en-US" sz="2400" b="0">
                        <a:solidFill>
                          <a:srgbClr val="8C96C2"/>
                        </a:solidFill>
                        <a:latin typeface="+mn-lt"/>
                        <a:cs typeface="Helvetica" panose="020B0604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tx2"/>
                          </a:solidFill>
                          <a:latin typeface="+mn-lt"/>
                          <a:cs typeface="Helvetica" panose="020B0604020202020204" pitchFamily="34" charset="0"/>
                        </a:rPr>
                        <a:t>Results Evaluation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solidFill>
                            <a:srgbClr val="8C96C2"/>
                          </a:solidFill>
                          <a:latin typeface="+mn-lt"/>
                          <a:cs typeface="Helvetica" panose="020B0604020202020204" pitchFamily="34" charset="0"/>
                        </a:rPr>
                        <a:t>Looking Forward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A9FF19E-A1B9-43C1-9058-C6FE063CEB66}"/>
              </a:ext>
            </a:extLst>
          </p:cNvPr>
          <p:cNvSpPr/>
          <p:nvPr userDrawn="1"/>
        </p:nvSpPr>
        <p:spPr>
          <a:xfrm>
            <a:off x="705066" y="540197"/>
            <a:ext cx="325677" cy="646331"/>
          </a:xfrm>
          <a:prstGeom prst="rect">
            <a:avLst/>
          </a:prstGeom>
          <a:solidFill>
            <a:srgbClr val="3740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800E1B2-C5B1-4219-91DC-F018AC96030B}"/>
              </a:ext>
            </a:extLst>
          </p:cNvPr>
          <p:cNvCxnSpPr/>
          <p:nvPr userDrawn="1"/>
        </p:nvCxnSpPr>
        <p:spPr>
          <a:xfrm flipV="1">
            <a:off x="0" y="1327091"/>
            <a:ext cx="18288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91468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oking forw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383" y="2383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3" y="2383"/>
                        <a:ext cx="2381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1340284" y="540197"/>
            <a:ext cx="15300902" cy="646331"/>
          </a:xfrm>
          <a:prstGeom prst="rect">
            <a:avLst/>
          </a:prstGeom>
        </p:spPr>
        <p:txBody>
          <a:bodyPr anchor="ctr"/>
          <a:lstStyle>
            <a:lvl1pPr>
              <a:defRPr sz="4200">
                <a:solidFill>
                  <a:srgbClr val="374067"/>
                </a:solidFill>
                <a:latin typeface="Calibri"/>
                <a:cs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693640" y="9793724"/>
            <a:ext cx="548640" cy="3693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fld id="{A87BEFEB-CDBF-4F1F-A4E5-2EF267813B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3716" y="9302792"/>
            <a:ext cx="4114800" cy="2539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5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FC3411F-6033-4582-97DD-AA53203074F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8688273"/>
              </p:ext>
            </p:extLst>
          </p:nvPr>
        </p:nvGraphicFramePr>
        <p:xfrm>
          <a:off x="1717655" y="9704070"/>
          <a:ext cx="14923530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358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735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07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07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solidFill>
                            <a:srgbClr val="8C96C2"/>
                          </a:solidFill>
                          <a:latin typeface="+mn-lt"/>
                          <a:cs typeface="Helvetica" panose="020B0604020202020204" pitchFamily="34" charset="0"/>
                        </a:rPr>
                        <a:t>Exploration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baseline="0">
                          <a:solidFill>
                            <a:srgbClr val="8C96C2"/>
                          </a:solidFill>
                          <a:latin typeface="+mn-lt"/>
                          <a:cs typeface="Helvetica" panose="020B0604020202020204" pitchFamily="34" charset="0"/>
                        </a:rPr>
                        <a:t>Model Walkthrough</a:t>
                      </a:r>
                      <a:endParaRPr lang="en-US" sz="2400" b="0">
                        <a:solidFill>
                          <a:srgbClr val="8C96C2"/>
                        </a:solidFill>
                        <a:latin typeface="+mn-lt"/>
                        <a:cs typeface="Helvetica" panose="020B0604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>
                          <a:solidFill>
                            <a:srgbClr val="8C96C2"/>
                          </a:solidFill>
                          <a:latin typeface="+mn-lt"/>
                          <a:cs typeface="Helvetica" panose="020B0604020202020204" pitchFamily="34" charset="0"/>
                        </a:rPr>
                        <a:t>Results Evaluation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2060"/>
                          </a:solidFill>
                          <a:latin typeface="+mn-lt"/>
                          <a:cs typeface="Helvetica" panose="020B0604020202020204" pitchFamily="34" charset="0"/>
                        </a:rPr>
                        <a:t>Looking Forward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A9FF19E-A1B9-43C1-9058-C6FE063CEB66}"/>
              </a:ext>
            </a:extLst>
          </p:cNvPr>
          <p:cNvSpPr/>
          <p:nvPr userDrawn="1"/>
        </p:nvSpPr>
        <p:spPr>
          <a:xfrm>
            <a:off x="705066" y="540197"/>
            <a:ext cx="325677" cy="646331"/>
          </a:xfrm>
          <a:prstGeom prst="rect">
            <a:avLst/>
          </a:prstGeom>
          <a:solidFill>
            <a:srgbClr val="3740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800E1B2-C5B1-4219-91DC-F018AC96030B}"/>
              </a:ext>
            </a:extLst>
          </p:cNvPr>
          <p:cNvCxnSpPr/>
          <p:nvPr userDrawn="1"/>
        </p:nvCxnSpPr>
        <p:spPr>
          <a:xfrm flipV="1">
            <a:off x="0" y="1327091"/>
            <a:ext cx="18288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56876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87243" y="800734"/>
            <a:ext cx="16313513" cy="6724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250" b="0" i="1">
                <a:solidFill>
                  <a:schemeClr val="bg1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82650" y="3863689"/>
            <a:ext cx="16522700" cy="25952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217920" y="9566910"/>
            <a:ext cx="5852160" cy="514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914400" y="9566910"/>
            <a:ext cx="4206240" cy="514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8/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3167361" y="9566910"/>
            <a:ext cx="4206240" cy="514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7" Type="http://schemas.openxmlformats.org/officeDocument/2006/relationships/image" Target="../media/image7.jpeg"/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0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7" Type="http://schemas.openxmlformats.org/officeDocument/2006/relationships/image" Target="../media/image7.jpeg"/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0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7" Type="http://schemas.openxmlformats.org/officeDocument/2006/relationships/image" Target="../media/image19.gif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gif"/><Relationship Id="rId5" Type="http://schemas.openxmlformats.org/officeDocument/2006/relationships/image" Target="../media/image17.gif"/><Relationship Id="rId4" Type="http://schemas.openxmlformats.org/officeDocument/2006/relationships/image" Target="../media/image16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7" Type="http://schemas.openxmlformats.org/officeDocument/2006/relationships/image" Target="../media/image19.gif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gif"/><Relationship Id="rId5" Type="http://schemas.openxmlformats.org/officeDocument/2006/relationships/image" Target="../media/image17.gif"/><Relationship Id="rId4" Type="http://schemas.openxmlformats.org/officeDocument/2006/relationships/image" Target="../media/image16.g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2" name="Picture 8" descr="Related image">
            <a:extLst>
              <a:ext uri="{FF2B5EF4-FFF2-40B4-BE49-F238E27FC236}">
                <a16:creationId xmlns:a16="http://schemas.microsoft.com/office/drawing/2014/main" id="{2EFDA225-28C4-4986-A089-A957552FA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7351" y="4398922"/>
            <a:ext cx="5200650" cy="451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reinforcement learning openai">
            <a:extLst>
              <a:ext uri="{FF2B5EF4-FFF2-40B4-BE49-F238E27FC236}">
                <a16:creationId xmlns:a16="http://schemas.microsoft.com/office/drawing/2014/main" id="{B71AEEC9-4452-416A-B8B3-9DD46C102C7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5119" y="22955"/>
            <a:ext cx="6802881" cy="4421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openai vs humans">
            <a:extLst>
              <a:ext uri="{FF2B5EF4-FFF2-40B4-BE49-F238E27FC236}">
                <a16:creationId xmlns:a16="http://schemas.microsoft.com/office/drawing/2014/main" id="{E90CF0FE-09AF-4751-9F3D-D2BE5DFE8A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1547" y="0"/>
            <a:ext cx="7872774" cy="442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219C43A-827A-4D3B-93DC-BBF27622D1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1547" y="4421875"/>
            <a:ext cx="7861110" cy="443366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205FCA4-8611-455E-B4D4-E9D2697D4F5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462"/>
          <a:stretch/>
        </p:blipFill>
        <p:spPr>
          <a:xfrm>
            <a:off x="0" y="0"/>
            <a:ext cx="6802881" cy="4421875"/>
          </a:xfrm>
          <a:prstGeom prst="rect">
            <a:avLst/>
          </a:prstGeom>
        </p:spPr>
      </p:pic>
      <p:pic>
        <p:nvPicPr>
          <p:cNvPr id="6148" name="Picture 4" descr="Image result for openai vs humans">
            <a:extLst>
              <a:ext uri="{FF2B5EF4-FFF2-40B4-BE49-F238E27FC236}">
                <a16:creationId xmlns:a16="http://schemas.microsoft.com/office/drawing/2014/main" id="{BCCBFEFF-81B3-4EAF-B3DB-C2EBC9E58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462"/>
          <a:stretch/>
        </p:blipFill>
        <p:spPr bwMode="auto">
          <a:xfrm>
            <a:off x="0" y="4185667"/>
            <a:ext cx="6802881" cy="4669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93C567BE-25B8-454D-A07D-1FAF00941E09}"/>
              </a:ext>
            </a:extLst>
          </p:cNvPr>
          <p:cNvGrpSpPr/>
          <p:nvPr/>
        </p:nvGrpSpPr>
        <p:grpSpPr>
          <a:xfrm>
            <a:off x="-3" y="8937651"/>
            <a:ext cx="18288003" cy="1368552"/>
            <a:chOff x="2" y="6740066"/>
            <a:chExt cx="10189212" cy="2623639"/>
          </a:xfrm>
          <a:solidFill>
            <a:srgbClr val="002060">
              <a:alpha val="80000"/>
            </a:srgbClr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29F6A24-0F8F-465C-B480-A3867B0A13F3}"/>
                </a:ext>
              </a:extLst>
            </p:cNvPr>
            <p:cNvSpPr/>
            <p:nvPr/>
          </p:nvSpPr>
          <p:spPr>
            <a:xfrm>
              <a:off x="2" y="6740066"/>
              <a:ext cx="10189212" cy="262363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dirty="0">
                  <a:solidFill>
                    <a:schemeClr val="bg1"/>
                  </a:solidFill>
                </a:rPr>
                <a:t>Generalizing Transfer Learning in Reinforcement Learning with </a:t>
              </a:r>
            </a:p>
            <a:p>
              <a:pPr algn="ctr"/>
              <a:r>
                <a:rPr lang="en-US" sz="3200" dirty="0">
                  <a:solidFill>
                    <a:schemeClr val="bg1"/>
                  </a:solidFill>
                </a:rPr>
                <a:t>Newer Regularizations in </a:t>
              </a:r>
              <a:r>
                <a:rPr lang="en-US" sz="3200" dirty="0" err="1">
                  <a:solidFill>
                    <a:schemeClr val="bg1"/>
                  </a:solidFill>
                </a:rPr>
                <a:t>Coinrun</a:t>
              </a:r>
              <a:endParaRPr lang="en-GB" sz="320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B215B6E-54DB-4325-A172-2FD792903318}"/>
                </a:ext>
              </a:extLst>
            </p:cNvPr>
            <p:cNvSpPr/>
            <p:nvPr/>
          </p:nvSpPr>
          <p:spPr>
            <a:xfrm>
              <a:off x="8077984" y="8194751"/>
              <a:ext cx="2111225" cy="11689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</a:rPr>
                <a:t>Eamon | </a:t>
              </a:r>
              <a:r>
                <a:rPr lang="en-US" sz="2800" dirty="0" err="1">
                  <a:solidFill>
                    <a:schemeClr val="bg1"/>
                  </a:solidFill>
                </a:rPr>
                <a:t>Hakon</a:t>
              </a:r>
              <a:r>
                <a:rPr lang="en-US" sz="2800" dirty="0">
                  <a:solidFill>
                    <a:schemeClr val="bg1"/>
                  </a:solidFill>
                </a:rPr>
                <a:t> | Theo</a:t>
              </a:r>
              <a:endParaRPr lang="en-GB" sz="2800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E5383DD5-83CA-46F3-84C9-C5F4A0D808CD}"/>
              </a:ext>
            </a:extLst>
          </p:cNvPr>
          <p:cNvSpPr/>
          <p:nvPr/>
        </p:nvSpPr>
        <p:spPr>
          <a:xfrm>
            <a:off x="-3" y="0"/>
            <a:ext cx="18288000" cy="8937651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screenshot of a cell phone&#10;&#10;Description automatically generated">
            <a:extLst>
              <a:ext uri="{FF2B5EF4-FFF2-40B4-BE49-F238E27FC236}">
                <a16:creationId xmlns:a16="http://schemas.microsoft.com/office/drawing/2014/main" id="{43D98DAC-8B97-3D44-858D-7A6702CCFF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411" y="6237116"/>
            <a:ext cx="4991100" cy="3594100"/>
          </a:xfrm>
          <a:prstGeom prst="rect">
            <a:avLst/>
          </a:prstGeom>
        </p:spPr>
      </p:pic>
      <p:pic>
        <p:nvPicPr>
          <p:cNvPr id="28" name="Picture 27" descr="A screenshot of a cell phone&#10;&#10;Description automatically generated">
            <a:extLst>
              <a:ext uri="{FF2B5EF4-FFF2-40B4-BE49-F238E27FC236}">
                <a16:creationId xmlns:a16="http://schemas.microsoft.com/office/drawing/2014/main" id="{A1EA046C-E42C-434B-A4E7-831340A20F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116" y="6269088"/>
            <a:ext cx="5232400" cy="35687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C13FA11-E8EB-40E9-AC0E-C17A3306EE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0284" y="586363"/>
            <a:ext cx="15300902" cy="553998"/>
          </a:xfrm>
        </p:spPr>
        <p:txBody>
          <a:bodyPr/>
          <a:lstStyle/>
          <a:p>
            <a:r>
              <a:rPr lang="en-US" altLang="zh-HK" sz="3600" dirty="0"/>
              <a:t>Our Improvements: Regularizations by adding Gaussian noise layers</a:t>
            </a:r>
            <a:endParaRPr lang="zh-HK" altLang="en-US" sz="3600" dirty="0"/>
          </a:p>
        </p:txBody>
      </p:sp>
      <p:pic>
        <p:nvPicPr>
          <p:cNvPr id="5" name="Picture 4" descr="A screenshot of a map&#10;&#10;Description automatically generated">
            <a:extLst>
              <a:ext uri="{FF2B5EF4-FFF2-40B4-BE49-F238E27FC236}">
                <a16:creationId xmlns:a16="http://schemas.microsoft.com/office/drawing/2014/main" id="{DD8DEB20-C5F3-A74D-B6E5-FF1E1774E88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033"/>
          <a:stretch/>
        </p:blipFill>
        <p:spPr>
          <a:xfrm>
            <a:off x="2071116" y="2457408"/>
            <a:ext cx="5179076" cy="3780162"/>
          </a:xfrm>
          <a:prstGeom prst="rect">
            <a:avLst/>
          </a:prstGeom>
        </p:spPr>
      </p:pic>
      <p:sp>
        <p:nvSpPr>
          <p:cNvPr id="6" name="Shape 176">
            <a:extLst>
              <a:ext uri="{FF2B5EF4-FFF2-40B4-BE49-F238E27FC236}">
                <a16:creationId xmlns:a16="http://schemas.microsoft.com/office/drawing/2014/main" id="{107C2FC6-B0C6-5E48-82AC-B6371831538C}"/>
              </a:ext>
            </a:extLst>
          </p:cNvPr>
          <p:cNvSpPr/>
          <p:nvPr/>
        </p:nvSpPr>
        <p:spPr>
          <a:xfrm>
            <a:off x="2071116" y="1830108"/>
            <a:ext cx="5179076" cy="627300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137138" tIns="68550" rIns="137138" bIns="68550" anchor="ctr" anchorCtr="0">
            <a:noAutofit/>
          </a:bodyPr>
          <a:lstStyle/>
          <a:p>
            <a:pPr algn="ctr">
              <a:buSzPct val="25000"/>
            </a:pPr>
            <a:r>
              <a:rPr lang="en-US" sz="2700" dirty="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One noise layer</a:t>
            </a:r>
          </a:p>
        </p:txBody>
      </p:sp>
      <p:sp>
        <p:nvSpPr>
          <p:cNvPr id="7" name="Shape 176">
            <a:extLst>
              <a:ext uri="{FF2B5EF4-FFF2-40B4-BE49-F238E27FC236}">
                <a16:creationId xmlns:a16="http://schemas.microsoft.com/office/drawing/2014/main" id="{0E822ECF-83E4-844D-81AB-6EA52B56FE38}"/>
              </a:ext>
            </a:extLst>
          </p:cNvPr>
          <p:cNvSpPr/>
          <p:nvPr/>
        </p:nvSpPr>
        <p:spPr>
          <a:xfrm>
            <a:off x="7532116" y="1830108"/>
            <a:ext cx="5179076" cy="627300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137138" tIns="68550" rIns="137138" bIns="68550" anchor="ctr" anchorCtr="0">
            <a:noAutofit/>
          </a:bodyPr>
          <a:lstStyle/>
          <a:p>
            <a:pPr algn="ctr">
              <a:buSzPct val="25000"/>
            </a:pPr>
            <a:r>
              <a:rPr lang="en-US" sz="2700" dirty="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Two noise layers</a:t>
            </a:r>
          </a:p>
        </p:txBody>
      </p:sp>
      <p:sp>
        <p:nvSpPr>
          <p:cNvPr id="8" name="Shape 176">
            <a:extLst>
              <a:ext uri="{FF2B5EF4-FFF2-40B4-BE49-F238E27FC236}">
                <a16:creationId xmlns:a16="http://schemas.microsoft.com/office/drawing/2014/main" id="{8EB9048B-83AF-7443-A7F0-59B7B96763BC}"/>
              </a:ext>
            </a:extLst>
          </p:cNvPr>
          <p:cNvSpPr/>
          <p:nvPr/>
        </p:nvSpPr>
        <p:spPr>
          <a:xfrm>
            <a:off x="13716" y="3746148"/>
            <a:ext cx="2057400" cy="1202681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137138" tIns="68550" rIns="137138" bIns="68550" anchor="ctr" anchorCtr="0">
            <a:noAutofit/>
          </a:bodyPr>
          <a:lstStyle/>
          <a:p>
            <a:pPr algn="ctr">
              <a:buSzPct val="25000"/>
            </a:pPr>
            <a:r>
              <a:rPr lang="en-US" sz="2700" dirty="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Noise </a:t>
            </a:r>
            <a:r>
              <a:rPr lang="en-US" sz="2700" dirty="0" err="1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sd</a:t>
            </a:r>
            <a:r>
              <a:rPr lang="en-US" sz="2700" dirty="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: 1</a:t>
            </a:r>
          </a:p>
        </p:txBody>
      </p:sp>
      <p:sp>
        <p:nvSpPr>
          <p:cNvPr id="10" name="Shape 176">
            <a:extLst>
              <a:ext uri="{FF2B5EF4-FFF2-40B4-BE49-F238E27FC236}">
                <a16:creationId xmlns:a16="http://schemas.microsoft.com/office/drawing/2014/main" id="{EB1D9A99-98C1-084F-A62D-C6506FC67747}"/>
              </a:ext>
            </a:extLst>
          </p:cNvPr>
          <p:cNvSpPr/>
          <p:nvPr/>
        </p:nvSpPr>
        <p:spPr>
          <a:xfrm>
            <a:off x="0" y="7412710"/>
            <a:ext cx="2057400" cy="1202681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137138" tIns="68550" rIns="137138" bIns="68550" anchor="ctr" anchorCtr="0">
            <a:noAutofit/>
          </a:bodyPr>
          <a:lstStyle/>
          <a:p>
            <a:pPr algn="ctr">
              <a:buSzPct val="25000"/>
            </a:pPr>
            <a:r>
              <a:rPr lang="en-US" sz="2700" dirty="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Noise </a:t>
            </a:r>
            <a:r>
              <a:rPr lang="en-US" sz="2700" dirty="0" err="1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sd</a:t>
            </a:r>
            <a:r>
              <a:rPr lang="en-US" sz="2700" dirty="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: 0.5</a:t>
            </a:r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636C7EC0-5D72-6C41-81B5-7893A179807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392" b="2"/>
          <a:stretch/>
        </p:blipFill>
        <p:spPr>
          <a:xfrm>
            <a:off x="7600704" y="2457408"/>
            <a:ext cx="5041900" cy="3657250"/>
          </a:xfrm>
          <a:prstGeom prst="rect">
            <a:avLst/>
          </a:prstGeom>
        </p:spPr>
      </p:pic>
      <p:sp>
        <p:nvSpPr>
          <p:cNvPr id="13" name="Shape 176">
            <a:extLst>
              <a:ext uri="{FF2B5EF4-FFF2-40B4-BE49-F238E27FC236}">
                <a16:creationId xmlns:a16="http://schemas.microsoft.com/office/drawing/2014/main" id="{4D5E2103-43CF-6D44-8804-E194F8E1B1E1}"/>
              </a:ext>
            </a:extLst>
          </p:cNvPr>
          <p:cNvSpPr/>
          <p:nvPr/>
        </p:nvSpPr>
        <p:spPr>
          <a:xfrm>
            <a:off x="12993116" y="1830108"/>
            <a:ext cx="5179076" cy="627300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137138" tIns="68550" rIns="137138" bIns="68550" anchor="ctr" anchorCtr="0">
            <a:noAutofit/>
          </a:bodyPr>
          <a:lstStyle/>
          <a:p>
            <a:pPr algn="ctr">
              <a:buSzPct val="25000"/>
            </a:pPr>
            <a:r>
              <a:rPr lang="en-US" sz="2700" dirty="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Three noise layers</a:t>
            </a:r>
          </a:p>
        </p:txBody>
      </p:sp>
      <p:pic>
        <p:nvPicPr>
          <p:cNvPr id="15" name="Picture 14" descr="A picture containing map, screenshot&#10;&#10;Description automatically generated">
            <a:extLst>
              <a:ext uri="{FF2B5EF4-FFF2-40B4-BE49-F238E27FC236}">
                <a16:creationId xmlns:a16="http://schemas.microsoft.com/office/drawing/2014/main" id="{CFDF6CD1-FD35-0248-939E-D31CDF86CBD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04" b="1707"/>
          <a:stretch/>
        </p:blipFill>
        <p:spPr>
          <a:xfrm>
            <a:off x="12924528" y="2478673"/>
            <a:ext cx="5194300" cy="3657250"/>
          </a:xfrm>
          <a:prstGeom prst="rect">
            <a:avLst/>
          </a:prstGeom>
        </p:spPr>
      </p:pic>
      <p:pic>
        <p:nvPicPr>
          <p:cNvPr id="17" name="Picture 1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C615663-17C8-F24F-BE06-8DC21F4D27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76927" y="6184028"/>
            <a:ext cx="5041901" cy="350430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812714F-9F37-9049-A505-B0A42213CC0A}"/>
              </a:ext>
            </a:extLst>
          </p:cNvPr>
          <p:cNvCxnSpPr>
            <a:cxnSpLocks/>
          </p:cNvCxnSpPr>
          <p:nvPr/>
        </p:nvCxnSpPr>
        <p:spPr>
          <a:xfrm>
            <a:off x="0" y="6237570"/>
            <a:ext cx="1828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C5940F-6CAA-5641-BE30-7D0953E6EC88}"/>
              </a:ext>
            </a:extLst>
          </p:cNvPr>
          <p:cNvCxnSpPr>
            <a:cxnSpLocks/>
          </p:cNvCxnSpPr>
          <p:nvPr/>
        </p:nvCxnSpPr>
        <p:spPr>
          <a:xfrm flipV="1">
            <a:off x="7363834" y="1382010"/>
            <a:ext cx="0" cy="81746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A12CFCF-A012-464D-B26A-B1ACE88A0717}"/>
              </a:ext>
            </a:extLst>
          </p:cNvPr>
          <p:cNvCxnSpPr>
            <a:cxnSpLocks/>
          </p:cNvCxnSpPr>
          <p:nvPr/>
        </p:nvCxnSpPr>
        <p:spPr>
          <a:xfrm flipV="1">
            <a:off x="12818203" y="1382010"/>
            <a:ext cx="0" cy="81746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DE125BFD-7157-2544-98FC-61C80F743268}"/>
              </a:ext>
            </a:extLst>
          </p:cNvPr>
          <p:cNvSpPr/>
          <p:nvPr/>
        </p:nvSpPr>
        <p:spPr>
          <a:xfrm>
            <a:off x="0" y="1382010"/>
            <a:ext cx="18288000" cy="8449206"/>
          </a:xfrm>
          <a:prstGeom prst="rect">
            <a:avLst/>
          </a:prstGeom>
          <a:solidFill>
            <a:schemeClr val="tx2">
              <a:lumMod val="50000"/>
              <a:alpha val="94902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/>
              <a:t>Conclusion: Adding more layers does or further regularizing it </a:t>
            </a:r>
          </a:p>
          <a:p>
            <a:pPr algn="ctr"/>
            <a:r>
              <a:rPr lang="en-US" sz="4800" dirty="0"/>
              <a:t>DOES NOT necessarily make a better model to transfer to other </a:t>
            </a:r>
          </a:p>
          <a:p>
            <a:pPr algn="ctr"/>
            <a:r>
              <a:rPr lang="en-US" sz="4800" dirty="0"/>
              <a:t>levels. The best performer is 1 layer of noise at standard deviation=1.</a:t>
            </a:r>
          </a:p>
        </p:txBody>
      </p:sp>
    </p:spTree>
    <p:extLst>
      <p:ext uri="{BB962C8B-B14F-4D97-AF65-F5344CB8AC3E}">
        <p14:creationId xmlns:p14="http://schemas.microsoft.com/office/powerpoint/2010/main" val="8668907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3FA11-E8EB-40E9-AC0E-C17A3306E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HK" sz="3600" dirty="0"/>
              <a:t>Conclusion: What’s next?</a:t>
            </a:r>
            <a:endParaRPr lang="zh-HK" altLang="en-US" sz="36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A7B684-5373-4791-92FF-3A1C5DB7076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39A68FD-3BB3-C44D-8D90-2F5051C2445D}"/>
              </a:ext>
            </a:extLst>
          </p:cNvPr>
          <p:cNvGrpSpPr/>
          <p:nvPr/>
        </p:nvGrpSpPr>
        <p:grpSpPr>
          <a:xfrm>
            <a:off x="879377" y="3006391"/>
            <a:ext cx="7294748" cy="5380320"/>
            <a:chOff x="879377" y="3006391"/>
            <a:chExt cx="7294748" cy="538032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95B1EA2-09C2-6643-8B26-CBD2642C50B2}"/>
                </a:ext>
              </a:extLst>
            </p:cNvPr>
            <p:cNvSpPr/>
            <p:nvPr/>
          </p:nvSpPr>
          <p:spPr>
            <a:xfrm>
              <a:off x="1601542" y="3006391"/>
              <a:ext cx="6572583" cy="58477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2600" dirty="0"/>
                <a:t>Adding More Noise</a:t>
              </a:r>
              <a:endParaRPr lang="zh-HK" altLang="en-US" sz="2600" dirty="0"/>
            </a:p>
          </p:txBody>
        </p:sp>
        <p:sp>
          <p:nvSpPr>
            <p:cNvPr id="7" name="Shape 182">
              <a:extLst>
                <a:ext uri="{FF2B5EF4-FFF2-40B4-BE49-F238E27FC236}">
                  <a16:creationId xmlns:a16="http://schemas.microsoft.com/office/drawing/2014/main" id="{8CBA9FFA-A5C0-6A44-942D-14A0F3B489AF}"/>
                </a:ext>
              </a:extLst>
            </p:cNvPr>
            <p:cNvSpPr/>
            <p:nvPr/>
          </p:nvSpPr>
          <p:spPr>
            <a:xfrm>
              <a:off x="879377" y="3054879"/>
              <a:ext cx="525156" cy="487800"/>
            </a:xfrm>
            <a:prstGeom prst="ellipse">
              <a:avLst/>
            </a:prstGeom>
            <a:solidFill>
              <a:schemeClr val="accent1"/>
            </a:solidFill>
            <a:ln w="28575" cap="flat" cmpd="sng">
              <a:solidFill>
                <a:schemeClr val="lt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137138" tIns="68550" rIns="137138" bIns="68550" anchor="ctr" anchorCtr="0">
              <a:noAutofit/>
            </a:bodyPr>
            <a:lstStyle/>
            <a:p>
              <a:pPr algn="ctr">
                <a:buSzPct val="25000"/>
              </a:pPr>
              <a:r>
                <a:rPr lang="en-US" sz="270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1</a:t>
              </a:r>
            </a:p>
          </p:txBody>
        </p:sp>
        <p:sp>
          <p:nvSpPr>
            <p:cNvPr id="8" name="Shape 176">
              <a:extLst>
                <a:ext uri="{FF2B5EF4-FFF2-40B4-BE49-F238E27FC236}">
                  <a16:creationId xmlns:a16="http://schemas.microsoft.com/office/drawing/2014/main" id="{638D7D5C-5AA8-DD45-9334-17287FA2E86B}"/>
                </a:ext>
              </a:extLst>
            </p:cNvPr>
            <p:cNvSpPr/>
            <p:nvPr/>
          </p:nvSpPr>
          <p:spPr>
            <a:xfrm>
              <a:off x="1601542" y="4039451"/>
              <a:ext cx="6572583" cy="184832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 cap="flat" cmpd="sng">
              <a:noFill/>
              <a:prstDash val="solid"/>
              <a:miter/>
              <a:headEnd type="none" w="med" len="med"/>
              <a:tailEnd type="none" w="med" len="med"/>
            </a:ln>
          </p:spPr>
          <p:txBody>
            <a:bodyPr lIns="137138" tIns="68550" rIns="137138" bIns="68550" anchor="ctr" anchorCtr="0">
              <a:noAutofit/>
            </a:bodyPr>
            <a:lstStyle/>
            <a:p>
              <a:pPr algn="ctr">
                <a:buSzPct val="25000"/>
              </a:pPr>
              <a:r>
                <a:rPr lang="en-US" sz="2700" dirty="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Making sure it does not overfit by “confusing” the model more during training</a:t>
              </a:r>
            </a:p>
          </p:txBody>
        </p:sp>
        <p:sp>
          <p:nvSpPr>
            <p:cNvPr id="11" name="Shape 176">
              <a:extLst>
                <a:ext uri="{FF2B5EF4-FFF2-40B4-BE49-F238E27FC236}">
                  <a16:creationId xmlns:a16="http://schemas.microsoft.com/office/drawing/2014/main" id="{51B1607B-1D62-9A42-B74A-B17539A9A6A3}"/>
                </a:ext>
              </a:extLst>
            </p:cNvPr>
            <p:cNvSpPr/>
            <p:nvPr/>
          </p:nvSpPr>
          <p:spPr>
            <a:xfrm>
              <a:off x="1601542" y="6538383"/>
              <a:ext cx="6572583" cy="184832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9050" cap="flat" cmpd="sng">
              <a:noFill/>
              <a:prstDash val="solid"/>
              <a:miter/>
              <a:headEnd type="none" w="med" len="med"/>
              <a:tailEnd type="none" w="med" len="med"/>
            </a:ln>
          </p:spPr>
          <p:txBody>
            <a:bodyPr lIns="137138" tIns="68550" rIns="137138" bIns="68550" anchor="ctr" anchorCtr="0">
              <a:noAutofit/>
            </a:bodyPr>
            <a:lstStyle/>
            <a:p>
              <a:pPr algn="ctr">
                <a:buSzPct val="25000"/>
              </a:pPr>
              <a:r>
                <a:rPr lang="en-US" sz="2700" dirty="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Future implementation: </a:t>
              </a:r>
            </a:p>
            <a:p>
              <a:pPr algn="ctr">
                <a:buSzPct val="25000"/>
              </a:pPr>
              <a:r>
                <a:rPr lang="en-US" sz="2700" dirty="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General Adversarial Noise Layers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305F27D-8980-6A4D-8719-66F9CBD9B032}"/>
              </a:ext>
            </a:extLst>
          </p:cNvPr>
          <p:cNvGrpSpPr/>
          <p:nvPr/>
        </p:nvGrpSpPr>
        <p:grpSpPr>
          <a:xfrm>
            <a:off x="9351503" y="3006391"/>
            <a:ext cx="7289683" cy="5380320"/>
            <a:chOff x="9351503" y="3006391"/>
            <a:chExt cx="7289683" cy="538032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DC362F1-6460-F64F-BC54-A26D9F212BBA}"/>
                </a:ext>
              </a:extLst>
            </p:cNvPr>
            <p:cNvSpPr/>
            <p:nvPr/>
          </p:nvSpPr>
          <p:spPr>
            <a:xfrm>
              <a:off x="10068603" y="3006391"/>
              <a:ext cx="6572583" cy="58477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2600" dirty="0"/>
                <a:t>Reducing Unnecessary Noise </a:t>
              </a:r>
              <a:endParaRPr lang="zh-HK" altLang="en-US" sz="2600" dirty="0"/>
            </a:p>
          </p:txBody>
        </p:sp>
        <p:sp>
          <p:nvSpPr>
            <p:cNvPr id="9" name="Shape 182">
              <a:extLst>
                <a:ext uri="{FF2B5EF4-FFF2-40B4-BE49-F238E27FC236}">
                  <a16:creationId xmlns:a16="http://schemas.microsoft.com/office/drawing/2014/main" id="{C02217F6-0F83-554E-AEB3-C34C40447C5A}"/>
                </a:ext>
              </a:extLst>
            </p:cNvPr>
            <p:cNvSpPr/>
            <p:nvPr/>
          </p:nvSpPr>
          <p:spPr>
            <a:xfrm>
              <a:off x="9351503" y="3054879"/>
              <a:ext cx="504450" cy="487800"/>
            </a:xfrm>
            <a:prstGeom prst="ellipse">
              <a:avLst/>
            </a:prstGeom>
            <a:solidFill>
              <a:schemeClr val="accent1"/>
            </a:solidFill>
            <a:ln w="28575" cap="flat" cmpd="sng">
              <a:solidFill>
                <a:schemeClr val="lt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137138" tIns="68550" rIns="137138" bIns="68550" anchor="ctr" anchorCtr="0">
              <a:noAutofit/>
            </a:bodyPr>
            <a:lstStyle/>
            <a:p>
              <a:pPr algn="ctr">
                <a:buSzPct val="25000"/>
              </a:pPr>
              <a:r>
                <a:rPr lang="en-US" sz="270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2</a:t>
              </a:r>
            </a:p>
          </p:txBody>
        </p:sp>
        <p:sp>
          <p:nvSpPr>
            <p:cNvPr id="10" name="Shape 176">
              <a:extLst>
                <a:ext uri="{FF2B5EF4-FFF2-40B4-BE49-F238E27FC236}">
                  <a16:creationId xmlns:a16="http://schemas.microsoft.com/office/drawing/2014/main" id="{B6A2E8A8-08EF-EA45-A6A6-15C27F6B4003}"/>
                </a:ext>
              </a:extLst>
            </p:cNvPr>
            <p:cNvSpPr/>
            <p:nvPr/>
          </p:nvSpPr>
          <p:spPr>
            <a:xfrm>
              <a:off x="10113877" y="4039451"/>
              <a:ext cx="6527309" cy="1848328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9050" cap="flat" cmpd="sng">
              <a:noFill/>
              <a:prstDash val="solid"/>
              <a:miter/>
              <a:headEnd type="none" w="med" len="med"/>
              <a:tailEnd type="none" w="med" len="med"/>
            </a:ln>
          </p:spPr>
          <p:txBody>
            <a:bodyPr lIns="137138" tIns="68550" rIns="137138" bIns="68550" anchor="ctr" anchorCtr="0">
              <a:noAutofit/>
            </a:bodyPr>
            <a:lstStyle/>
            <a:p>
              <a:pPr algn="ctr">
                <a:buSzPct val="25000"/>
              </a:pPr>
              <a:r>
                <a:rPr lang="en-US" sz="2700" dirty="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Take out uncorrelated components that would not add value to the model</a:t>
              </a:r>
            </a:p>
          </p:txBody>
        </p:sp>
        <p:sp>
          <p:nvSpPr>
            <p:cNvPr id="12" name="Shape 176">
              <a:extLst>
                <a:ext uri="{FF2B5EF4-FFF2-40B4-BE49-F238E27FC236}">
                  <a16:creationId xmlns:a16="http://schemas.microsoft.com/office/drawing/2014/main" id="{768F59AC-627B-8D4E-BAFA-79114E4ADC97}"/>
                </a:ext>
              </a:extLst>
            </p:cNvPr>
            <p:cNvSpPr/>
            <p:nvPr/>
          </p:nvSpPr>
          <p:spPr>
            <a:xfrm>
              <a:off x="10113877" y="6538383"/>
              <a:ext cx="6527309" cy="1848328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19050" cap="flat" cmpd="sng">
              <a:noFill/>
              <a:prstDash val="solid"/>
              <a:miter/>
              <a:headEnd type="none" w="med" len="med"/>
              <a:tailEnd type="none" w="med" len="med"/>
            </a:ln>
          </p:spPr>
          <p:txBody>
            <a:bodyPr lIns="137138" tIns="68550" rIns="137138" bIns="68550" anchor="ctr" anchorCtr="0">
              <a:noAutofit/>
            </a:bodyPr>
            <a:lstStyle/>
            <a:p>
              <a:pPr algn="ctr">
                <a:buSzPct val="25000"/>
              </a:pPr>
              <a:r>
                <a:rPr lang="en-US" sz="2700" dirty="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Future Implementation: </a:t>
              </a:r>
            </a:p>
            <a:p>
              <a:pPr algn="ctr">
                <a:buSzPct val="25000"/>
              </a:pPr>
              <a:r>
                <a:rPr lang="en-US" sz="2700" dirty="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Spectral Dropout</a:t>
              </a:r>
            </a:p>
          </p:txBody>
        </p:sp>
      </p:grpSp>
      <p:sp>
        <p:nvSpPr>
          <p:cNvPr id="13" name="Shape 176">
            <a:extLst>
              <a:ext uri="{FF2B5EF4-FFF2-40B4-BE49-F238E27FC236}">
                <a16:creationId xmlns:a16="http://schemas.microsoft.com/office/drawing/2014/main" id="{2F01EA8F-1B94-4242-8C3A-A1609AD4BB12}"/>
              </a:ext>
            </a:extLst>
          </p:cNvPr>
          <p:cNvSpPr/>
          <p:nvPr/>
        </p:nvSpPr>
        <p:spPr>
          <a:xfrm>
            <a:off x="1601541" y="1921051"/>
            <a:ext cx="15039645" cy="627300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137138" tIns="68550" rIns="137138" bIns="68550" anchor="ctr" anchorCtr="0">
            <a:noAutofit/>
          </a:bodyPr>
          <a:lstStyle/>
          <a:p>
            <a:pPr algn="ctr">
              <a:buSzPct val="25000"/>
            </a:pPr>
            <a:r>
              <a:rPr lang="en-US" sz="2700" dirty="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Possible Future Implementations to Improve the Model</a:t>
            </a:r>
          </a:p>
        </p:txBody>
      </p:sp>
    </p:spTree>
    <p:extLst>
      <p:ext uri="{BB962C8B-B14F-4D97-AF65-F5344CB8AC3E}">
        <p14:creationId xmlns:p14="http://schemas.microsoft.com/office/powerpoint/2010/main" val="3272287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2" name="Picture 8" descr="Related image">
            <a:extLst>
              <a:ext uri="{FF2B5EF4-FFF2-40B4-BE49-F238E27FC236}">
                <a16:creationId xmlns:a16="http://schemas.microsoft.com/office/drawing/2014/main" id="{2EFDA225-28C4-4986-A089-A957552FA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7351" y="4398922"/>
            <a:ext cx="5200650" cy="451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reinforcement learning openai">
            <a:extLst>
              <a:ext uri="{FF2B5EF4-FFF2-40B4-BE49-F238E27FC236}">
                <a16:creationId xmlns:a16="http://schemas.microsoft.com/office/drawing/2014/main" id="{B71AEEC9-4452-416A-B8B3-9DD46C102C7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5119" y="22955"/>
            <a:ext cx="6802881" cy="4421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openai vs humans">
            <a:extLst>
              <a:ext uri="{FF2B5EF4-FFF2-40B4-BE49-F238E27FC236}">
                <a16:creationId xmlns:a16="http://schemas.microsoft.com/office/drawing/2014/main" id="{E90CF0FE-09AF-4751-9F3D-D2BE5DFE8A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1547" y="0"/>
            <a:ext cx="7872774" cy="442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219C43A-827A-4D3B-93DC-BBF27622D1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1547" y="4421875"/>
            <a:ext cx="7861110" cy="443366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205FCA4-8611-455E-B4D4-E9D2697D4F5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462"/>
          <a:stretch/>
        </p:blipFill>
        <p:spPr>
          <a:xfrm>
            <a:off x="0" y="0"/>
            <a:ext cx="6802881" cy="4421875"/>
          </a:xfrm>
          <a:prstGeom prst="rect">
            <a:avLst/>
          </a:prstGeom>
        </p:spPr>
      </p:pic>
      <p:pic>
        <p:nvPicPr>
          <p:cNvPr id="6148" name="Picture 4" descr="Image result for openai vs humans">
            <a:extLst>
              <a:ext uri="{FF2B5EF4-FFF2-40B4-BE49-F238E27FC236}">
                <a16:creationId xmlns:a16="http://schemas.microsoft.com/office/drawing/2014/main" id="{BCCBFEFF-81B3-4EAF-B3DB-C2EBC9E58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462"/>
          <a:stretch/>
        </p:blipFill>
        <p:spPr bwMode="auto">
          <a:xfrm>
            <a:off x="0" y="4185667"/>
            <a:ext cx="6802881" cy="4669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93C567BE-25B8-454D-A07D-1FAF00941E09}"/>
              </a:ext>
            </a:extLst>
          </p:cNvPr>
          <p:cNvGrpSpPr/>
          <p:nvPr/>
        </p:nvGrpSpPr>
        <p:grpSpPr>
          <a:xfrm>
            <a:off x="-3" y="8937651"/>
            <a:ext cx="18288003" cy="1368552"/>
            <a:chOff x="2" y="6740066"/>
            <a:chExt cx="10189212" cy="2623639"/>
          </a:xfrm>
          <a:solidFill>
            <a:srgbClr val="002060">
              <a:alpha val="80000"/>
            </a:srgbClr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29F6A24-0F8F-465C-B480-A3867B0A13F3}"/>
                </a:ext>
              </a:extLst>
            </p:cNvPr>
            <p:cNvSpPr/>
            <p:nvPr/>
          </p:nvSpPr>
          <p:spPr>
            <a:xfrm>
              <a:off x="2" y="6740066"/>
              <a:ext cx="10189212" cy="262363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dirty="0">
                  <a:solidFill>
                    <a:schemeClr val="bg1"/>
                  </a:solidFill>
                </a:rPr>
                <a:t>Generalizing Transfer Learning in Reinforcement Learning with </a:t>
              </a:r>
            </a:p>
            <a:p>
              <a:pPr algn="ctr"/>
              <a:r>
                <a:rPr lang="en-US" sz="3200" dirty="0">
                  <a:solidFill>
                    <a:schemeClr val="bg1"/>
                  </a:solidFill>
                </a:rPr>
                <a:t>Newer Regularizations in </a:t>
              </a:r>
              <a:r>
                <a:rPr lang="en-US" sz="3200" dirty="0" err="1">
                  <a:solidFill>
                    <a:schemeClr val="bg1"/>
                  </a:solidFill>
                </a:rPr>
                <a:t>Coinrun</a:t>
              </a:r>
              <a:endParaRPr lang="en-GB" sz="320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B215B6E-54DB-4325-A172-2FD792903318}"/>
                </a:ext>
              </a:extLst>
            </p:cNvPr>
            <p:cNvSpPr/>
            <p:nvPr/>
          </p:nvSpPr>
          <p:spPr>
            <a:xfrm>
              <a:off x="8077984" y="8194751"/>
              <a:ext cx="2111225" cy="11689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</a:rPr>
                <a:t>Eamon | </a:t>
              </a:r>
              <a:r>
                <a:rPr lang="en-US" sz="2800" dirty="0" err="1">
                  <a:solidFill>
                    <a:schemeClr val="bg1"/>
                  </a:solidFill>
                </a:rPr>
                <a:t>Hakon</a:t>
              </a:r>
              <a:r>
                <a:rPr lang="en-US" sz="2800" dirty="0">
                  <a:solidFill>
                    <a:schemeClr val="bg1"/>
                  </a:solidFill>
                </a:rPr>
                <a:t> | Theo</a:t>
              </a:r>
              <a:endParaRPr lang="en-GB" sz="2800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E5383DD5-83CA-46F3-84C9-C5F4A0D808CD}"/>
              </a:ext>
            </a:extLst>
          </p:cNvPr>
          <p:cNvSpPr/>
          <p:nvPr/>
        </p:nvSpPr>
        <p:spPr>
          <a:xfrm>
            <a:off x="-3" y="0"/>
            <a:ext cx="18288000" cy="8937651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701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A215FB-237C-4D21-B225-1404E16897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-functio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9D3630-7951-4407-A9CF-F11D287E10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8344" y="9291251"/>
            <a:ext cx="4114800" cy="276999"/>
          </a:xfrm>
        </p:spPr>
        <p:txBody>
          <a:bodyPr/>
          <a:lstStyle/>
          <a:p>
            <a:r>
              <a:rPr lang="en-GB" sz="1800" dirty="0"/>
              <a:t>Source: ADL (2018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2819C17-4850-42ED-8C58-B71417A6FFC9}"/>
                  </a:ext>
                </a:extLst>
              </p:cNvPr>
              <p:cNvSpPr txBox="1"/>
              <p:nvPr/>
            </p:nvSpPr>
            <p:spPr>
              <a:xfrm>
                <a:off x="2549742" y="3987904"/>
                <a:ext cx="1318851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28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New</m:t>
                      </m:r>
                      <m:r>
                        <a:rPr lang="en-US" sz="28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28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Q</m:t>
                      </m:r>
                      <m:d>
                        <m:dPr>
                          <m:ctrlPr>
                            <a:rPr lang="en-US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sz="28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s</m:t>
                          </m:r>
                          <m:r>
                            <a:rPr lang="en-US" sz="28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</m:t>
                          </m:r>
                          <m:r>
                            <m:rPr>
                              <m:sty m:val="p"/>
                            </m:rPr>
                            <a:rPr lang="en-US" sz="28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a</m:t>
                          </m:r>
                        </m:e>
                      </m:d>
                      <m:r>
                        <a:rPr lang="en-US" sz="28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r>
                        <m:rPr>
                          <m:sty m:val="p"/>
                        </m:rPr>
                        <a:rPr lang="en-US" sz="28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Q</m:t>
                      </m:r>
                      <m:d>
                        <m:dPr>
                          <m:ctrlPr>
                            <a:rPr lang="en-US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sz="28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s</m:t>
                          </m:r>
                          <m:r>
                            <a:rPr lang="en-US" sz="28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</m:t>
                          </m:r>
                          <m:r>
                            <m:rPr>
                              <m:sty m:val="p"/>
                            </m:rPr>
                            <a:rPr lang="en-US" sz="28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a</m:t>
                          </m:r>
                        </m:e>
                      </m:d>
                      <m:r>
                        <a:rPr lang="en-US" sz="28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US" sz="2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</m:d>
                          <m:r>
                            <a:rPr lang="en-US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r>
                            <a:rPr lang="en-US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sSup>
                            <m:sSupPr>
                              <m:ctrlP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d>
                            <m:dPr>
                              <m:ctrlP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sz="2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 </m:t>
                              </m:r>
                              <m:sSup>
                                <m:sSupPr>
                                  <m:ctrlPr>
                                    <a:rPr lang="en-US" sz="2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</m:d>
                          <m:r>
                            <a:rPr lang="en-US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𝑄</m:t>
                          </m:r>
                          <m:d>
                            <m:dPr>
                              <m:ctrlP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</m:d>
                        </m:e>
                      </m:d>
                      <m:r>
                        <a:rPr lang="en-US" sz="2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𝑤h𝑒𝑟𝑒</m:t>
                      </m:r>
                    </m:oMath>
                  </m:oMathPara>
                </a14:m>
                <a:endParaRPr lang="en-GB" sz="28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2819C17-4850-42ED-8C58-B71417A6FF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49742" y="3987904"/>
                <a:ext cx="13188516" cy="523220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B8AFB8F-F444-44D0-912E-ADC35480939B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3433350" y="4511126"/>
            <a:ext cx="1099879" cy="13804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DA2F4B91-F1AE-44EF-8450-FD3C76B54E76}"/>
              </a:ext>
            </a:extLst>
          </p:cNvPr>
          <p:cNvSpPr txBox="1"/>
          <p:nvPr/>
        </p:nvSpPr>
        <p:spPr>
          <a:xfrm>
            <a:off x="2549742" y="5891578"/>
            <a:ext cx="17672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ew Q Value for </a:t>
            </a:r>
          </a:p>
          <a:p>
            <a:r>
              <a:rPr lang="en-US" dirty="0"/>
              <a:t>state and action</a:t>
            </a:r>
            <a:endParaRPr lang="en-GB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D52BA4D-BEDC-4169-B3A9-4C06F3C9A86A}"/>
              </a:ext>
            </a:extLst>
          </p:cNvPr>
          <p:cNvCxnSpPr>
            <a:cxnSpLocks/>
          </p:cNvCxnSpPr>
          <p:nvPr/>
        </p:nvCxnSpPr>
        <p:spPr>
          <a:xfrm>
            <a:off x="3720429" y="4511124"/>
            <a:ext cx="18142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80F4AE8-65D4-44BB-956E-14EB3CB82DE4}"/>
              </a:ext>
            </a:extLst>
          </p:cNvPr>
          <p:cNvCxnSpPr>
            <a:cxnSpLocks/>
            <a:stCxn id="14" idx="0"/>
          </p:cNvCxnSpPr>
          <p:nvPr/>
        </p:nvCxnSpPr>
        <p:spPr>
          <a:xfrm flipV="1">
            <a:off x="5605523" y="4511123"/>
            <a:ext cx="887135" cy="1380452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0B16509-268E-41C8-BB8C-4324C9039B2D}"/>
              </a:ext>
            </a:extLst>
          </p:cNvPr>
          <p:cNvSpPr txBox="1"/>
          <p:nvPr/>
        </p:nvSpPr>
        <p:spPr>
          <a:xfrm>
            <a:off x="4721915" y="5891575"/>
            <a:ext cx="1767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urrent Q values</a:t>
            </a:r>
            <a:endParaRPr lang="en-GB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E2CBCF2-87A9-4F05-A864-0AF15A13434E}"/>
              </a:ext>
            </a:extLst>
          </p:cNvPr>
          <p:cNvCxnSpPr>
            <a:cxnSpLocks/>
          </p:cNvCxnSpPr>
          <p:nvPr/>
        </p:nvCxnSpPr>
        <p:spPr>
          <a:xfrm>
            <a:off x="5892602" y="4511121"/>
            <a:ext cx="1224170" cy="0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135B149-3121-448C-AA13-52A38710E572}"/>
              </a:ext>
            </a:extLst>
          </p:cNvPr>
          <p:cNvCxnSpPr>
            <a:cxnSpLocks/>
            <a:stCxn id="20" idx="0"/>
          </p:cNvCxnSpPr>
          <p:nvPr/>
        </p:nvCxnSpPr>
        <p:spPr>
          <a:xfrm flipV="1">
            <a:off x="7565673" y="4511121"/>
            <a:ext cx="813842" cy="1432584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0D2DC68B-B379-4E43-97FC-A892862D6F1E}"/>
              </a:ext>
            </a:extLst>
          </p:cNvPr>
          <p:cNvSpPr txBox="1"/>
          <p:nvPr/>
        </p:nvSpPr>
        <p:spPr>
          <a:xfrm>
            <a:off x="6519601" y="5943705"/>
            <a:ext cx="2092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ward for taking action at that state</a:t>
            </a:r>
            <a:endParaRPr lang="en-GB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DE1227C-5962-41BB-B10A-562BE5474767}"/>
              </a:ext>
            </a:extLst>
          </p:cNvPr>
          <p:cNvCxnSpPr>
            <a:cxnSpLocks/>
          </p:cNvCxnSpPr>
          <p:nvPr/>
        </p:nvCxnSpPr>
        <p:spPr>
          <a:xfrm>
            <a:off x="7948013" y="4502786"/>
            <a:ext cx="954016" cy="0"/>
          </a:xfrm>
          <a:prstGeom prst="line">
            <a:avLst/>
          </a:prstGeom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CD8FC68-C86C-4636-A743-7103D76E453C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7116772" y="3442753"/>
            <a:ext cx="448180" cy="692236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832EC61-FFEC-47D2-9C57-C04007807774}"/>
              </a:ext>
            </a:extLst>
          </p:cNvPr>
          <p:cNvSpPr txBox="1"/>
          <p:nvPr/>
        </p:nvSpPr>
        <p:spPr>
          <a:xfrm>
            <a:off x="6233164" y="3073421"/>
            <a:ext cx="1767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rning Rate</a:t>
            </a:r>
            <a:endParaRPr lang="en-GB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6BB7434-05E5-420F-AE43-D83CE07DCD74}"/>
              </a:ext>
            </a:extLst>
          </p:cNvPr>
          <p:cNvCxnSpPr>
            <a:cxnSpLocks/>
          </p:cNvCxnSpPr>
          <p:nvPr/>
        </p:nvCxnSpPr>
        <p:spPr>
          <a:xfrm>
            <a:off x="7521410" y="4511124"/>
            <a:ext cx="280342" cy="0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796A549-EBF3-464B-B335-7AE34157499B}"/>
              </a:ext>
            </a:extLst>
          </p:cNvPr>
          <p:cNvCxnSpPr>
            <a:cxnSpLocks/>
            <a:stCxn id="35" idx="2"/>
          </p:cNvCxnSpPr>
          <p:nvPr/>
        </p:nvCxnSpPr>
        <p:spPr>
          <a:xfrm>
            <a:off x="8902029" y="3434415"/>
            <a:ext cx="448180" cy="692236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91EEA43-9D97-48D5-AB5D-C5505EF1F1E7}"/>
              </a:ext>
            </a:extLst>
          </p:cNvPr>
          <p:cNvSpPr txBox="1"/>
          <p:nvPr/>
        </p:nvSpPr>
        <p:spPr>
          <a:xfrm>
            <a:off x="8018421" y="3065083"/>
            <a:ext cx="1767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iscount rate</a:t>
            </a:r>
            <a:endParaRPr lang="en-GB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64A7B22-DBA6-4A53-8A58-996668FA9E83}"/>
              </a:ext>
            </a:extLst>
          </p:cNvPr>
          <p:cNvCxnSpPr>
            <a:cxnSpLocks/>
          </p:cNvCxnSpPr>
          <p:nvPr/>
        </p:nvCxnSpPr>
        <p:spPr>
          <a:xfrm>
            <a:off x="9306667" y="4502786"/>
            <a:ext cx="280342" cy="0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7BC7B0C-182B-4DED-A153-A38ADAA333C4}"/>
              </a:ext>
            </a:extLst>
          </p:cNvPr>
          <p:cNvCxnSpPr>
            <a:cxnSpLocks/>
            <a:stCxn id="41" idx="0"/>
          </p:cNvCxnSpPr>
          <p:nvPr/>
        </p:nvCxnSpPr>
        <p:spPr>
          <a:xfrm flipV="1">
            <a:off x="10322668" y="4537188"/>
            <a:ext cx="247068" cy="1398180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BABA1DC-F3D6-4AE8-BAD4-F8B515D20095}"/>
              </a:ext>
            </a:extLst>
          </p:cNvPr>
          <p:cNvSpPr txBox="1"/>
          <p:nvPr/>
        </p:nvSpPr>
        <p:spPr>
          <a:xfrm>
            <a:off x="9276596" y="5935368"/>
            <a:ext cx="209214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x expected future reward given new state (s’) and all possible actions at that new state</a:t>
            </a:r>
            <a:endParaRPr lang="en-GB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A11A44FD-9D45-4996-912B-70C024D8ECCC}"/>
              </a:ext>
            </a:extLst>
          </p:cNvPr>
          <p:cNvCxnSpPr>
            <a:cxnSpLocks/>
          </p:cNvCxnSpPr>
          <p:nvPr/>
        </p:nvCxnSpPr>
        <p:spPr>
          <a:xfrm>
            <a:off x="9684759" y="4494449"/>
            <a:ext cx="1974265" cy="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8AB00C5-A37C-4B10-A3B2-A34A388D29D9}"/>
              </a:ext>
            </a:extLst>
          </p:cNvPr>
          <p:cNvCxnSpPr>
            <a:cxnSpLocks/>
            <a:stCxn id="45" idx="0"/>
          </p:cNvCxnSpPr>
          <p:nvPr/>
        </p:nvCxnSpPr>
        <p:spPr>
          <a:xfrm flipV="1">
            <a:off x="12716087" y="4537188"/>
            <a:ext cx="0" cy="1391889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C72B6BAE-88CD-49C6-9307-25668E82FD42}"/>
              </a:ext>
            </a:extLst>
          </p:cNvPr>
          <p:cNvSpPr txBox="1"/>
          <p:nvPr/>
        </p:nvSpPr>
        <p:spPr>
          <a:xfrm>
            <a:off x="11832479" y="5929077"/>
            <a:ext cx="1767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urrent Q values</a:t>
            </a:r>
            <a:endParaRPr lang="en-GB" dirty="0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1CDD4C1-638F-4B5E-9751-3FC274003040}"/>
              </a:ext>
            </a:extLst>
          </p:cNvPr>
          <p:cNvCxnSpPr>
            <a:cxnSpLocks/>
          </p:cNvCxnSpPr>
          <p:nvPr/>
        </p:nvCxnSpPr>
        <p:spPr>
          <a:xfrm>
            <a:off x="12184185" y="4502782"/>
            <a:ext cx="1224170" cy="0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3641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3FA11-E8EB-40E9-AC0E-C17A3306E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HK" sz="3600" dirty="0"/>
              <a:t>Quick Description on Reinforcement Learning</a:t>
            </a:r>
            <a:endParaRPr lang="zh-HK" altLang="en-US" sz="360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E1BE002-7051-4EEA-896F-BD728E40EC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6355E4-528E-43B4-A566-56C2FCBB98A1}"/>
              </a:ext>
            </a:extLst>
          </p:cNvPr>
          <p:cNvSpPr txBox="1"/>
          <p:nvPr/>
        </p:nvSpPr>
        <p:spPr>
          <a:xfrm>
            <a:off x="3215388" y="2973947"/>
            <a:ext cx="1185721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HK" sz="2600" b="1" dirty="0"/>
              <a:t>Allowing an agent to learn from an interactive environment through trial and error. </a:t>
            </a:r>
            <a:endParaRPr lang="zh-HK" altLang="en-US" sz="2600" b="1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CA5E841-1E78-4B72-B3AD-3EE0B1A5114E}"/>
              </a:ext>
            </a:extLst>
          </p:cNvPr>
          <p:cNvGrpSpPr/>
          <p:nvPr/>
        </p:nvGrpSpPr>
        <p:grpSpPr>
          <a:xfrm>
            <a:off x="142404" y="4109179"/>
            <a:ext cx="3072984" cy="3907897"/>
            <a:chOff x="663281" y="4109178"/>
            <a:chExt cx="3072984" cy="385136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8E5AB16-44CF-462B-B863-FD5B334C89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6832" y="5259424"/>
              <a:ext cx="2105883" cy="1202108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6472A24-B33E-48D1-A325-8CC2AB929139}"/>
                </a:ext>
              </a:extLst>
            </p:cNvPr>
            <p:cNvSpPr txBox="1"/>
            <p:nvPr/>
          </p:nvSpPr>
          <p:spPr>
            <a:xfrm>
              <a:off x="663281" y="4109178"/>
              <a:ext cx="307298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HK" sz="2200" b="1" dirty="0"/>
                <a:t>Environment</a:t>
              </a:r>
              <a:endParaRPr lang="zh-HK" altLang="en-US" sz="2200" b="1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499BE8D-A38E-435C-8AE8-F0AE15262BF2}"/>
                </a:ext>
              </a:extLst>
            </p:cNvPr>
            <p:cNvSpPr txBox="1"/>
            <p:nvPr/>
          </p:nvSpPr>
          <p:spPr>
            <a:xfrm>
              <a:off x="972487" y="7037210"/>
              <a:ext cx="245457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HK" dirty="0"/>
                <a:t>The world in which the agent is deployed, </a:t>
              </a:r>
            </a:p>
            <a:p>
              <a:pPr algn="ctr"/>
              <a:r>
                <a:rPr lang="en-US" altLang="zh-HK" dirty="0"/>
                <a:t>e.g. a game</a:t>
              </a:r>
              <a:endParaRPr lang="zh-HK" altLang="en-US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7EFFAEF-2540-494A-B46E-DB65D8EEF69B}"/>
              </a:ext>
            </a:extLst>
          </p:cNvPr>
          <p:cNvGrpSpPr/>
          <p:nvPr/>
        </p:nvGrpSpPr>
        <p:grpSpPr>
          <a:xfrm>
            <a:off x="7623548" y="4109178"/>
            <a:ext cx="3072984" cy="4184211"/>
            <a:chOff x="8593179" y="4146651"/>
            <a:chExt cx="3072984" cy="4134873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FE510923-558F-4A93-BBDD-63973F484F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38358" y="4853931"/>
              <a:ext cx="1982626" cy="1959247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7EAA2E5-E48C-45F0-95B7-E48F1CB86B92}"/>
                </a:ext>
              </a:extLst>
            </p:cNvPr>
            <p:cNvSpPr txBox="1"/>
            <p:nvPr/>
          </p:nvSpPr>
          <p:spPr>
            <a:xfrm>
              <a:off x="8593179" y="4146651"/>
              <a:ext cx="307298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HK" sz="2200" b="1" dirty="0"/>
                <a:t>Reward</a:t>
              </a:r>
              <a:endParaRPr lang="zh-HK" altLang="en-US" sz="2200" b="1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F2CC84C-4C7A-42EE-AFF1-14F230C75256}"/>
                </a:ext>
              </a:extLst>
            </p:cNvPr>
            <p:cNvSpPr txBox="1"/>
            <p:nvPr/>
          </p:nvSpPr>
          <p:spPr>
            <a:xfrm>
              <a:off x="8902385" y="7095349"/>
              <a:ext cx="2454573" cy="11861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HK" dirty="0"/>
                <a:t>Reaction or feedback from the environment, e.g. points you get for taking an action</a:t>
              </a:r>
              <a:endParaRPr lang="zh-HK" altLang="en-US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7E4DA6F-C05D-498C-8D3A-DD58990A8087}"/>
              </a:ext>
            </a:extLst>
          </p:cNvPr>
          <p:cNvGrpSpPr/>
          <p:nvPr/>
        </p:nvGrpSpPr>
        <p:grpSpPr>
          <a:xfrm>
            <a:off x="3882976" y="4109179"/>
            <a:ext cx="3072984" cy="3907898"/>
            <a:chOff x="4628230" y="4109178"/>
            <a:chExt cx="3072984" cy="405673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DD122E1-E7E4-4AAB-A84A-52E1E2E19BCD}"/>
                </a:ext>
              </a:extLst>
            </p:cNvPr>
            <p:cNvSpPr txBox="1"/>
            <p:nvPr/>
          </p:nvSpPr>
          <p:spPr>
            <a:xfrm>
              <a:off x="4628230" y="4109178"/>
              <a:ext cx="307298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HK" sz="2200" b="1" dirty="0"/>
                <a:t>State</a:t>
              </a:r>
              <a:endParaRPr lang="zh-HK" altLang="en-US" sz="2200" b="1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4D8F8C7-C286-40FB-BF17-4BAA6BD14C3F}"/>
                </a:ext>
              </a:extLst>
            </p:cNvPr>
            <p:cNvSpPr txBox="1"/>
            <p:nvPr/>
          </p:nvSpPr>
          <p:spPr>
            <a:xfrm>
              <a:off x="4937436" y="7242578"/>
              <a:ext cx="245457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HK" dirty="0"/>
                <a:t>Current situation, i.e. the aggregation of rewards and penalties</a:t>
              </a:r>
              <a:endParaRPr lang="zh-HK" altLang="en-US" dirty="0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D3B4CE5-2295-43B8-950B-ADFDD192C2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64614" y="4956933"/>
              <a:ext cx="1800216" cy="1868777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E8753AD5-E58B-49C7-9615-F375BFF25B20}"/>
              </a:ext>
            </a:extLst>
          </p:cNvPr>
          <p:cNvSpPr/>
          <p:nvPr/>
        </p:nvSpPr>
        <p:spPr>
          <a:xfrm>
            <a:off x="2566396" y="1847892"/>
            <a:ext cx="13155205" cy="5847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HK" sz="2600" dirty="0"/>
              <a:t>Reinforcement Learning</a:t>
            </a:r>
            <a:endParaRPr lang="zh-HK" altLang="en-US" sz="2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6D71F6-ED8D-4C36-9FA9-1003944F364F}"/>
              </a:ext>
            </a:extLst>
          </p:cNvPr>
          <p:cNvSpPr/>
          <p:nvPr/>
        </p:nvSpPr>
        <p:spPr>
          <a:xfrm>
            <a:off x="663281" y="9362083"/>
            <a:ext cx="330346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latin typeface="+mj-lt"/>
              </a:rPr>
              <a:t>Source: Shweta Bhatt (2018), </a:t>
            </a:r>
            <a:r>
              <a:rPr lang="en-GB" sz="1600" dirty="0" err="1">
                <a:latin typeface="+mj-lt"/>
              </a:rPr>
              <a:t>Flaticon</a:t>
            </a:r>
            <a:endParaRPr lang="en-GB" sz="1600" dirty="0">
              <a:latin typeface="+mj-lt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CB22BA8-5A32-4415-B2EB-E398A3A52EFA}"/>
              </a:ext>
            </a:extLst>
          </p:cNvPr>
          <p:cNvGrpSpPr/>
          <p:nvPr/>
        </p:nvGrpSpPr>
        <p:grpSpPr>
          <a:xfrm>
            <a:off x="15104694" y="4109178"/>
            <a:ext cx="3072984" cy="4184211"/>
            <a:chOff x="8593179" y="4146651"/>
            <a:chExt cx="3072984" cy="4134873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88B0F626-15BB-4E4C-814C-82EC6A5DDD9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38358" y="4853931"/>
              <a:ext cx="1982626" cy="1959247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8FBF42E-28D4-4324-9E68-0C3D5B9EBE4D}"/>
                </a:ext>
              </a:extLst>
            </p:cNvPr>
            <p:cNvSpPr txBox="1"/>
            <p:nvPr/>
          </p:nvSpPr>
          <p:spPr>
            <a:xfrm>
              <a:off x="8593179" y="4146651"/>
              <a:ext cx="307298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HK" sz="2200" b="1" dirty="0"/>
                <a:t>Value</a:t>
              </a:r>
              <a:endParaRPr lang="zh-HK" altLang="en-US" sz="2200" b="1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77C61B6-58CC-4338-9836-E78C51EDE422}"/>
                </a:ext>
              </a:extLst>
            </p:cNvPr>
            <p:cNvSpPr txBox="1"/>
            <p:nvPr/>
          </p:nvSpPr>
          <p:spPr>
            <a:xfrm>
              <a:off x="8902385" y="7095349"/>
              <a:ext cx="2454573" cy="11861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HK" dirty="0"/>
                <a:t>Future Reward for taking a certain action in a certain state (contextual)</a:t>
              </a:r>
              <a:endParaRPr lang="zh-HK" altLang="en-U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CBC61AF-A873-471B-9180-D8FCAF1122BF}"/>
              </a:ext>
            </a:extLst>
          </p:cNvPr>
          <p:cNvGrpSpPr/>
          <p:nvPr/>
        </p:nvGrpSpPr>
        <p:grpSpPr>
          <a:xfrm>
            <a:off x="11364120" y="4109179"/>
            <a:ext cx="3072984" cy="4168367"/>
            <a:chOff x="4628230" y="4109178"/>
            <a:chExt cx="3072984" cy="4425570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91E675B-3CC2-44BF-BED7-9B454A3843FD}"/>
                </a:ext>
              </a:extLst>
            </p:cNvPr>
            <p:cNvSpPr txBox="1"/>
            <p:nvPr/>
          </p:nvSpPr>
          <p:spPr>
            <a:xfrm>
              <a:off x="4628230" y="4109178"/>
              <a:ext cx="3072984" cy="4574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HK" sz="2200" b="1" dirty="0"/>
                <a:t>Policy</a:t>
              </a:r>
              <a:endParaRPr lang="zh-HK" altLang="en-US" sz="2200" b="1" dirty="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8CD4CB3-0773-4B88-9603-FD76A84112D7}"/>
                </a:ext>
              </a:extLst>
            </p:cNvPr>
            <p:cNvSpPr txBox="1"/>
            <p:nvPr/>
          </p:nvSpPr>
          <p:spPr>
            <a:xfrm>
              <a:off x="4937436" y="7260355"/>
              <a:ext cx="2454573" cy="12743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HK" dirty="0"/>
                <a:t>Rule or methods to map state to actions of agents, e.g. act to maximize reward</a:t>
              </a:r>
              <a:endParaRPr lang="zh-HK" altLang="en-US" dirty="0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0F637108-31EE-4E49-BFDD-EF629FF8A77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284637" y="4956933"/>
              <a:ext cx="1760169" cy="18687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16442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3FA11-E8EB-40E9-AC0E-C17A3306EE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0284" y="586363"/>
            <a:ext cx="15300902" cy="553998"/>
          </a:xfrm>
        </p:spPr>
        <p:txBody>
          <a:bodyPr/>
          <a:lstStyle/>
          <a:p>
            <a:r>
              <a:rPr lang="en-US" altLang="zh-HK" sz="3600" dirty="0"/>
              <a:t>Quick Description on Q-learning</a:t>
            </a:r>
            <a:endParaRPr lang="zh-HK" altLang="en-US" sz="3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6355E4-528E-43B4-A566-56C2FCBB98A1}"/>
              </a:ext>
            </a:extLst>
          </p:cNvPr>
          <p:cNvSpPr txBox="1"/>
          <p:nvPr/>
        </p:nvSpPr>
        <p:spPr>
          <a:xfrm>
            <a:off x="3215388" y="2925979"/>
            <a:ext cx="1185721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HK" sz="2600" b="1" dirty="0"/>
              <a:t>A value-based reinforcement learning algorithm used to find the optimal selection policy using a Q-function</a:t>
            </a:r>
            <a:endParaRPr lang="zh-HK" altLang="en-US" sz="2600" b="1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753AD5-E58B-49C7-9615-F375BFF25B20}"/>
              </a:ext>
            </a:extLst>
          </p:cNvPr>
          <p:cNvSpPr/>
          <p:nvPr/>
        </p:nvSpPr>
        <p:spPr>
          <a:xfrm>
            <a:off x="2566396" y="1847892"/>
            <a:ext cx="13155205" cy="5847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HK" sz="2600" dirty="0"/>
              <a:t>Q-Learning</a:t>
            </a:r>
            <a:endParaRPr lang="zh-HK" altLang="en-US" sz="2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6D71F6-ED8D-4C36-9FA9-1003944F364F}"/>
              </a:ext>
            </a:extLst>
          </p:cNvPr>
          <p:cNvSpPr/>
          <p:nvPr/>
        </p:nvSpPr>
        <p:spPr>
          <a:xfrm>
            <a:off x="663281" y="9362083"/>
            <a:ext cx="17750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latin typeface="+mj-lt"/>
              </a:rPr>
              <a:t>Source: ADL (2018)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A2DFE4F-F3D3-4978-B81E-8C34F52AE54A}"/>
              </a:ext>
            </a:extLst>
          </p:cNvPr>
          <p:cNvSpPr/>
          <p:nvPr/>
        </p:nvSpPr>
        <p:spPr>
          <a:xfrm>
            <a:off x="2566397" y="4756052"/>
            <a:ext cx="4257062" cy="58477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HK" sz="2400" dirty="0"/>
              <a:t>Initialize Q-table</a:t>
            </a:r>
            <a:endParaRPr lang="zh-HK" altLang="en-US" sz="24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3DD73CB-E4FF-416D-91D6-B8339243782B}"/>
              </a:ext>
            </a:extLst>
          </p:cNvPr>
          <p:cNvSpPr/>
          <p:nvPr/>
        </p:nvSpPr>
        <p:spPr>
          <a:xfrm>
            <a:off x="2566396" y="5796372"/>
            <a:ext cx="4257062" cy="58477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HK" sz="2400" dirty="0"/>
              <a:t>Choose Action</a:t>
            </a:r>
            <a:endParaRPr lang="zh-HK" altLang="en-US" sz="24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3D071F9-4128-47B3-8EB2-027FA88086A1}"/>
              </a:ext>
            </a:extLst>
          </p:cNvPr>
          <p:cNvSpPr/>
          <p:nvPr/>
        </p:nvSpPr>
        <p:spPr>
          <a:xfrm>
            <a:off x="2566396" y="6836691"/>
            <a:ext cx="4257062" cy="58477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HK" sz="2400" dirty="0"/>
              <a:t>Perform Action</a:t>
            </a:r>
            <a:endParaRPr lang="zh-HK" altLang="en-US" sz="24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5BBFC96-C23A-4CDC-B23A-6D1563BBCFE3}"/>
              </a:ext>
            </a:extLst>
          </p:cNvPr>
          <p:cNvSpPr/>
          <p:nvPr/>
        </p:nvSpPr>
        <p:spPr>
          <a:xfrm>
            <a:off x="2566396" y="7877010"/>
            <a:ext cx="4257062" cy="58477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HK" sz="2400" dirty="0"/>
              <a:t>Measure Reward</a:t>
            </a:r>
            <a:endParaRPr lang="zh-HK" altLang="en-US" sz="240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D152806-5075-4190-A1D9-3C2CE7EC080B}"/>
              </a:ext>
            </a:extLst>
          </p:cNvPr>
          <p:cNvSpPr/>
          <p:nvPr/>
        </p:nvSpPr>
        <p:spPr>
          <a:xfrm>
            <a:off x="2566396" y="8917328"/>
            <a:ext cx="4257062" cy="58477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HK" sz="2400" dirty="0"/>
              <a:t>Update Q-table</a:t>
            </a:r>
            <a:endParaRPr lang="zh-HK" altLang="en-US" sz="2400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D8EC2CB-5BA0-4FD2-B2DA-403ABD0D9247}"/>
              </a:ext>
            </a:extLst>
          </p:cNvPr>
          <p:cNvCxnSpPr>
            <a:cxnSpLocks/>
            <a:stCxn id="38" idx="2"/>
            <a:endCxn id="39" idx="0"/>
          </p:cNvCxnSpPr>
          <p:nvPr/>
        </p:nvCxnSpPr>
        <p:spPr>
          <a:xfrm flipH="1">
            <a:off x="4694927" y="5340828"/>
            <a:ext cx="1" cy="4555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D6D1A90-42C9-4C7F-9ACB-AAE2C764F6DB}"/>
              </a:ext>
            </a:extLst>
          </p:cNvPr>
          <p:cNvCxnSpPr>
            <a:cxnSpLocks/>
            <a:stCxn id="39" idx="2"/>
            <a:endCxn id="40" idx="0"/>
          </p:cNvCxnSpPr>
          <p:nvPr/>
        </p:nvCxnSpPr>
        <p:spPr>
          <a:xfrm>
            <a:off x="4694927" y="6381148"/>
            <a:ext cx="0" cy="4555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9BC15A2-3BF5-4255-B34C-67F724DB2110}"/>
              </a:ext>
            </a:extLst>
          </p:cNvPr>
          <p:cNvCxnSpPr>
            <a:cxnSpLocks/>
            <a:stCxn id="40" idx="2"/>
            <a:endCxn id="41" idx="0"/>
          </p:cNvCxnSpPr>
          <p:nvPr/>
        </p:nvCxnSpPr>
        <p:spPr>
          <a:xfrm>
            <a:off x="4694927" y="7421467"/>
            <a:ext cx="0" cy="4555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35A99E5-A169-43F9-ADA0-13CBA732DDD6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4694927" y="8461786"/>
            <a:ext cx="0" cy="4555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590706BE-C66A-4A4D-965B-65A60356480C}"/>
              </a:ext>
            </a:extLst>
          </p:cNvPr>
          <p:cNvCxnSpPr>
            <a:stCxn id="42" idx="3"/>
            <a:endCxn id="39" idx="3"/>
          </p:cNvCxnSpPr>
          <p:nvPr/>
        </p:nvCxnSpPr>
        <p:spPr>
          <a:xfrm flipV="1">
            <a:off x="6823458" y="6088760"/>
            <a:ext cx="12700" cy="3120956"/>
          </a:xfrm>
          <a:prstGeom prst="bentConnector3">
            <a:avLst>
              <a:gd name="adj1" fmla="val 511428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C38425D8-3208-42F8-8410-16D6B013A5D8}"/>
              </a:ext>
            </a:extLst>
          </p:cNvPr>
          <p:cNvSpPr/>
          <p:nvPr/>
        </p:nvSpPr>
        <p:spPr>
          <a:xfrm>
            <a:off x="2566396" y="3994904"/>
            <a:ext cx="4257062" cy="58477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HK" sz="2400" dirty="0">
                <a:solidFill>
                  <a:schemeClr val="bg1"/>
                </a:solidFill>
              </a:rPr>
              <a:t>5 essential steps in Q-learning</a:t>
            </a:r>
            <a:endParaRPr lang="zh-HK" altLang="en-US" sz="2400" dirty="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122C31A-A7F0-47C8-B22F-9B943A66C692}"/>
              </a:ext>
            </a:extLst>
          </p:cNvPr>
          <p:cNvSpPr/>
          <p:nvPr/>
        </p:nvSpPr>
        <p:spPr>
          <a:xfrm>
            <a:off x="7682682" y="7421467"/>
            <a:ext cx="1127489" cy="584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HK" sz="1500" dirty="0">
                <a:solidFill>
                  <a:schemeClr val="tx1"/>
                </a:solidFill>
              </a:rPr>
              <a:t>Many iterations</a:t>
            </a:r>
            <a:endParaRPr lang="zh-HK" altLang="en-US" sz="1500" dirty="0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3DA204A-3E66-4F60-ACDD-8E816CB264A6}"/>
              </a:ext>
            </a:extLst>
          </p:cNvPr>
          <p:cNvSpPr/>
          <p:nvPr/>
        </p:nvSpPr>
        <p:spPr>
          <a:xfrm>
            <a:off x="8990735" y="4528281"/>
            <a:ext cx="6734632" cy="104031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HK" sz="2400" dirty="0">
                <a:solidFill>
                  <a:schemeClr val="bg1"/>
                </a:solidFill>
              </a:rPr>
              <a:t>Q-table: a lookup table used to calculate max expected future rewards for action at each state</a:t>
            </a:r>
            <a:endParaRPr lang="zh-HK" altLang="en-US" sz="240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4216E22-7034-4D89-9660-7198991E3092}"/>
              </a:ext>
            </a:extLst>
          </p:cNvPr>
          <p:cNvSpPr/>
          <p:nvPr/>
        </p:nvSpPr>
        <p:spPr>
          <a:xfrm>
            <a:off x="8990735" y="6224072"/>
            <a:ext cx="6734632" cy="104031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HK" sz="2400" dirty="0">
                <a:solidFill>
                  <a:schemeClr val="bg1"/>
                </a:solidFill>
              </a:rPr>
              <a:t>Ultimately, it is about maximizing value function Q</a:t>
            </a:r>
            <a:endParaRPr lang="zh-HK" altLang="en-US" sz="2400" dirty="0">
              <a:solidFill>
                <a:schemeClr val="bg1"/>
              </a:solidFill>
            </a:endParaRPr>
          </a:p>
        </p:txBody>
      </p:sp>
      <p:sp>
        <p:nvSpPr>
          <p:cNvPr id="21" name="Shape 182">
            <a:extLst>
              <a:ext uri="{FF2B5EF4-FFF2-40B4-BE49-F238E27FC236}">
                <a16:creationId xmlns:a16="http://schemas.microsoft.com/office/drawing/2014/main" id="{26DE59CB-5547-4D6A-A322-5E8C013C3571}"/>
              </a:ext>
            </a:extLst>
          </p:cNvPr>
          <p:cNvSpPr/>
          <p:nvPr/>
        </p:nvSpPr>
        <p:spPr>
          <a:xfrm>
            <a:off x="8738509" y="4297144"/>
            <a:ext cx="504450" cy="487800"/>
          </a:xfrm>
          <a:prstGeom prst="ellipse">
            <a:avLst/>
          </a:prstGeom>
          <a:solidFill>
            <a:schemeClr val="accent1"/>
          </a:solidFill>
          <a:ln w="2857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137138" tIns="68550" rIns="137138" bIns="68550" anchor="ctr" anchorCtr="0">
            <a:noAutofit/>
          </a:bodyPr>
          <a:lstStyle/>
          <a:p>
            <a:pPr algn="ctr">
              <a:buSzPct val="25000"/>
            </a:pPr>
            <a:r>
              <a:rPr lang="en-US" sz="270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1</a:t>
            </a:r>
          </a:p>
        </p:txBody>
      </p:sp>
      <p:sp>
        <p:nvSpPr>
          <p:cNvPr id="22" name="Shape 182">
            <a:extLst>
              <a:ext uri="{FF2B5EF4-FFF2-40B4-BE49-F238E27FC236}">
                <a16:creationId xmlns:a16="http://schemas.microsoft.com/office/drawing/2014/main" id="{ADA92F19-EA22-499C-B44F-7A3504059A63}"/>
              </a:ext>
            </a:extLst>
          </p:cNvPr>
          <p:cNvSpPr/>
          <p:nvPr/>
        </p:nvSpPr>
        <p:spPr>
          <a:xfrm>
            <a:off x="8738509" y="5980172"/>
            <a:ext cx="504450" cy="487800"/>
          </a:xfrm>
          <a:prstGeom prst="ellipse">
            <a:avLst/>
          </a:prstGeom>
          <a:solidFill>
            <a:schemeClr val="accent1"/>
          </a:solidFill>
          <a:ln w="2857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137138" tIns="68550" rIns="137138" bIns="68550" anchor="ctr" anchorCtr="0">
            <a:noAutofit/>
          </a:bodyPr>
          <a:lstStyle/>
          <a:p>
            <a:pPr algn="ctr">
              <a:buSzPct val="25000"/>
            </a:pPr>
            <a:r>
              <a:rPr lang="en-US" sz="2700" dirty="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064535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3FA11-E8EB-40E9-AC0E-C17A3306E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HK" sz="3600" dirty="0"/>
              <a:t>Incomes the </a:t>
            </a:r>
            <a:r>
              <a:rPr lang="en-US" altLang="zh-HK" sz="3600" dirty="0" err="1"/>
              <a:t>Coinrun</a:t>
            </a:r>
            <a:r>
              <a:rPr lang="en-US" altLang="zh-HK" sz="3600" dirty="0"/>
              <a:t> Environment,  like a simplified Sonic Game</a:t>
            </a:r>
            <a:endParaRPr lang="zh-HK" altLang="en-US" sz="360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16E651C-B11E-48FC-84A0-09B612989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6D71F6-ED8D-4C36-9FA9-1003944F364F}"/>
              </a:ext>
            </a:extLst>
          </p:cNvPr>
          <p:cNvSpPr/>
          <p:nvPr/>
        </p:nvSpPr>
        <p:spPr>
          <a:xfrm>
            <a:off x="663281" y="9362083"/>
            <a:ext cx="26594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latin typeface="+mj-lt"/>
              </a:rPr>
              <a:t>Source: </a:t>
            </a:r>
            <a:r>
              <a:rPr lang="en-GB" sz="1600" dirty="0" err="1">
                <a:latin typeface="+mj-lt"/>
              </a:rPr>
              <a:t>OpenAI</a:t>
            </a:r>
            <a:r>
              <a:rPr lang="en-GB" sz="1600" dirty="0">
                <a:latin typeface="+mj-lt"/>
              </a:rPr>
              <a:t> </a:t>
            </a:r>
            <a:r>
              <a:rPr lang="en-GB" sz="1600" dirty="0" err="1"/>
              <a:t>Twtter</a:t>
            </a:r>
            <a:r>
              <a:rPr lang="en-GB" sz="1600" dirty="0"/>
              <a:t> (2018)</a:t>
            </a:r>
          </a:p>
        </p:txBody>
      </p:sp>
      <p:pic>
        <p:nvPicPr>
          <p:cNvPr id="7172" name="Picture 4" descr="https://d4mucfpksywv.cloudfront.net/research-covers/coinrun/Standard_Tile1.gif">
            <a:extLst>
              <a:ext uri="{FF2B5EF4-FFF2-40B4-BE49-F238E27FC236}">
                <a16:creationId xmlns:a16="http://schemas.microsoft.com/office/drawing/2014/main" id="{8AF30D48-8110-49CE-9535-EA1435BB444F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81" y="1657350"/>
            <a:ext cx="307498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s://d4mucfpksywv.cloudfront.net/research-covers/coinrun/Standard_Tile2.gif">
            <a:extLst>
              <a:ext uri="{FF2B5EF4-FFF2-40B4-BE49-F238E27FC236}">
                <a16:creationId xmlns:a16="http://schemas.microsoft.com/office/drawing/2014/main" id="{FF7320B4-45D4-45F2-BE7F-F1CAF2FEA82C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1210" y="1657350"/>
            <a:ext cx="307498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https://d4mucfpksywv.cloudfront.net/research-covers/coinrun/Standard_Tile3.gif">
            <a:extLst>
              <a:ext uri="{FF2B5EF4-FFF2-40B4-BE49-F238E27FC236}">
                <a16:creationId xmlns:a16="http://schemas.microsoft.com/office/drawing/2014/main" id="{8922B7F8-F97E-4C09-9CB7-A8815E98B3B8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138" y="1657350"/>
            <a:ext cx="307498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https://d4mucfpksywv.cloudfront.net/research-covers/coinrun/Standard_Tile4.gif">
            <a:extLst>
              <a:ext uri="{FF2B5EF4-FFF2-40B4-BE49-F238E27FC236}">
                <a16:creationId xmlns:a16="http://schemas.microsoft.com/office/drawing/2014/main" id="{EC24057A-2C0E-4C2F-8730-F89553E21901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81" y="5012789"/>
            <a:ext cx="307498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0" name="Picture 12" descr="https://d4mucfpksywv.cloudfront.net/research-covers/coinrun/Standard_Tile5.gif">
            <a:extLst>
              <a:ext uri="{FF2B5EF4-FFF2-40B4-BE49-F238E27FC236}">
                <a16:creationId xmlns:a16="http://schemas.microsoft.com/office/drawing/2014/main" id="{E5E6B313-5AAD-4332-BFFB-BC526E9D2031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1210" y="5012789"/>
            <a:ext cx="307498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2" name="Picture 14" descr="https://d4mucfpksywv.cloudfront.net/research-covers/coinrun/Standard_Tile6.gif">
            <a:extLst>
              <a:ext uri="{FF2B5EF4-FFF2-40B4-BE49-F238E27FC236}">
                <a16:creationId xmlns:a16="http://schemas.microsoft.com/office/drawing/2014/main" id="{7C201871-974D-41CD-BC5C-40E9E5B9B579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138" y="5012789"/>
            <a:ext cx="307498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3301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3FA11-E8EB-40E9-AC0E-C17A3306E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HK" sz="3600" dirty="0"/>
              <a:t>Training: Incomes the </a:t>
            </a:r>
            <a:r>
              <a:rPr lang="en-US" altLang="zh-HK" sz="3600" dirty="0" err="1"/>
              <a:t>Coinrun</a:t>
            </a:r>
            <a:r>
              <a:rPr lang="en-US" altLang="zh-HK" sz="3600" dirty="0"/>
              <a:t> Environment,  like a simplified Sonic Game</a:t>
            </a:r>
            <a:endParaRPr lang="zh-HK" altLang="en-US" sz="36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890440-E961-4526-BDA5-57FA184FF9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6D71F6-ED8D-4C36-9FA9-1003944F364F}"/>
              </a:ext>
            </a:extLst>
          </p:cNvPr>
          <p:cNvSpPr/>
          <p:nvPr/>
        </p:nvSpPr>
        <p:spPr>
          <a:xfrm>
            <a:off x="663281" y="9362083"/>
            <a:ext cx="271452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/>
              <a:t>Source: </a:t>
            </a:r>
            <a:r>
              <a:rPr lang="en-GB" sz="1600" dirty="0" err="1"/>
              <a:t>OpenAI</a:t>
            </a:r>
            <a:r>
              <a:rPr lang="en-GB" sz="1600" dirty="0"/>
              <a:t> </a:t>
            </a:r>
            <a:r>
              <a:rPr lang="en-GB" sz="1600" dirty="0" err="1"/>
              <a:t>Twtter</a:t>
            </a:r>
            <a:r>
              <a:rPr lang="en-GB" sz="1600" dirty="0"/>
              <a:t> (2018)</a:t>
            </a:r>
          </a:p>
        </p:txBody>
      </p:sp>
      <p:pic>
        <p:nvPicPr>
          <p:cNvPr id="7172" name="Picture 4" descr="https://d4mucfpksywv.cloudfront.net/research-covers/coinrun/Standard_Tile1.gif">
            <a:extLst>
              <a:ext uri="{FF2B5EF4-FFF2-40B4-BE49-F238E27FC236}">
                <a16:creationId xmlns:a16="http://schemas.microsoft.com/office/drawing/2014/main" id="{8AF30D48-8110-49CE-9535-EA1435BB444F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81" y="1657350"/>
            <a:ext cx="307498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s://d4mucfpksywv.cloudfront.net/research-covers/coinrun/Standard_Tile2.gif">
            <a:extLst>
              <a:ext uri="{FF2B5EF4-FFF2-40B4-BE49-F238E27FC236}">
                <a16:creationId xmlns:a16="http://schemas.microsoft.com/office/drawing/2014/main" id="{FF7320B4-45D4-45F2-BE7F-F1CAF2FEA82C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1210" y="1657350"/>
            <a:ext cx="307498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https://d4mucfpksywv.cloudfront.net/research-covers/coinrun/Standard_Tile3.gif">
            <a:extLst>
              <a:ext uri="{FF2B5EF4-FFF2-40B4-BE49-F238E27FC236}">
                <a16:creationId xmlns:a16="http://schemas.microsoft.com/office/drawing/2014/main" id="{8922B7F8-F97E-4C09-9CB7-A8815E98B3B8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138" y="1657350"/>
            <a:ext cx="307498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https://d4mucfpksywv.cloudfront.net/research-covers/coinrun/Standard_Tile4.gif">
            <a:extLst>
              <a:ext uri="{FF2B5EF4-FFF2-40B4-BE49-F238E27FC236}">
                <a16:creationId xmlns:a16="http://schemas.microsoft.com/office/drawing/2014/main" id="{EC24057A-2C0E-4C2F-8730-F89553E21901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81" y="5012789"/>
            <a:ext cx="307498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0" name="Picture 12" descr="https://d4mucfpksywv.cloudfront.net/research-covers/coinrun/Standard_Tile5.gif">
            <a:extLst>
              <a:ext uri="{FF2B5EF4-FFF2-40B4-BE49-F238E27FC236}">
                <a16:creationId xmlns:a16="http://schemas.microsoft.com/office/drawing/2014/main" id="{E5E6B313-5AAD-4332-BFFB-BC526E9D2031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1210" y="5012789"/>
            <a:ext cx="307498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2" name="Picture 14" descr="https://d4mucfpksywv.cloudfront.net/research-covers/coinrun/Standard_Tile6.gif">
            <a:extLst>
              <a:ext uri="{FF2B5EF4-FFF2-40B4-BE49-F238E27FC236}">
                <a16:creationId xmlns:a16="http://schemas.microsoft.com/office/drawing/2014/main" id="{7C201871-974D-41CD-BC5C-40E9E5B9B579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138" y="5012789"/>
            <a:ext cx="307498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F9C774-A5DC-43A9-A599-42370F98C04E}"/>
              </a:ext>
            </a:extLst>
          </p:cNvPr>
          <p:cNvSpPr/>
          <p:nvPr/>
        </p:nvSpPr>
        <p:spPr>
          <a:xfrm>
            <a:off x="663281" y="1657351"/>
            <a:ext cx="10750845" cy="6193888"/>
          </a:xfrm>
          <a:prstGeom prst="rect">
            <a:avLst/>
          </a:prstGeom>
          <a:solidFill>
            <a:schemeClr val="tx2">
              <a:lumMod val="50000"/>
              <a:alpha val="9882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A47A3D-937F-4366-B19F-667988F1C7DC}"/>
              </a:ext>
            </a:extLst>
          </p:cNvPr>
          <p:cNvSpPr/>
          <p:nvPr/>
        </p:nvSpPr>
        <p:spPr>
          <a:xfrm>
            <a:off x="12404957" y="1657350"/>
            <a:ext cx="5219762" cy="21001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1" dirty="0">
                <a:solidFill>
                  <a:schemeClr val="bg1"/>
                </a:solidFill>
              </a:rPr>
              <a:t>An environment generator that provides a metric for an agent’s ability to </a:t>
            </a:r>
            <a:r>
              <a:rPr lang="en-GB" sz="2801" b="1" dirty="0">
                <a:solidFill>
                  <a:schemeClr val="bg1"/>
                </a:solidFill>
              </a:rPr>
              <a:t>generalize across new environments</a:t>
            </a:r>
            <a:endParaRPr lang="en-US" sz="2801" b="1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BB5154-2170-42D1-843B-EF6EB7439DCF}"/>
              </a:ext>
            </a:extLst>
          </p:cNvPr>
          <p:cNvSpPr/>
          <p:nvPr/>
        </p:nvSpPr>
        <p:spPr>
          <a:xfrm>
            <a:off x="12404957" y="4398261"/>
            <a:ext cx="5219762" cy="139295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1" dirty="0">
                <a:solidFill>
                  <a:schemeClr val="bg1"/>
                </a:solidFill>
              </a:rPr>
              <a:t>Levels are procedurally generated</a:t>
            </a:r>
            <a:endParaRPr lang="en-US" sz="2801" b="1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6B8F57-2488-4D6A-A2B4-8224716FA366}"/>
              </a:ext>
            </a:extLst>
          </p:cNvPr>
          <p:cNvSpPr/>
          <p:nvPr/>
        </p:nvSpPr>
        <p:spPr>
          <a:xfrm>
            <a:off x="12404957" y="6432014"/>
            <a:ext cx="5219762" cy="139295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1" dirty="0">
                <a:solidFill>
                  <a:schemeClr val="bg1"/>
                </a:solidFill>
              </a:rPr>
              <a:t>Goal is to collect a single coin at the end of each level</a:t>
            </a:r>
            <a:endParaRPr lang="en-US" sz="2801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93071D-94AF-4286-8310-75D805696E54}"/>
              </a:ext>
            </a:extLst>
          </p:cNvPr>
          <p:cNvSpPr/>
          <p:nvPr/>
        </p:nvSpPr>
        <p:spPr>
          <a:xfrm>
            <a:off x="669885" y="8059122"/>
            <a:ext cx="16954833" cy="109507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Key: Train on some random amount of levels, and test on previously unseen levels. This usually results in overfitting and currently</a:t>
            </a:r>
            <a:r>
              <a:rPr lang="en-US" sz="2800" b="1" dirty="0"/>
              <a:t>, the more levels trained with, the better the performance in the test. </a:t>
            </a:r>
          </a:p>
        </p:txBody>
      </p:sp>
    </p:spTree>
    <p:extLst>
      <p:ext uri="{BB962C8B-B14F-4D97-AF65-F5344CB8AC3E}">
        <p14:creationId xmlns:p14="http://schemas.microsoft.com/office/powerpoint/2010/main" val="2546331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3FA11-E8EB-40E9-AC0E-C17A3306E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HK" sz="3600" dirty="0"/>
              <a:t>Our Model and Baselines: Nature-CNN and JERK</a:t>
            </a:r>
            <a:endParaRPr lang="zh-HK" altLang="en-US" sz="3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6D71F6-ED8D-4C36-9FA9-1003944F364F}"/>
              </a:ext>
            </a:extLst>
          </p:cNvPr>
          <p:cNvSpPr/>
          <p:nvPr/>
        </p:nvSpPr>
        <p:spPr>
          <a:xfrm>
            <a:off x="663281" y="9362083"/>
            <a:ext cx="20667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/>
              <a:t>Source: </a:t>
            </a:r>
            <a:r>
              <a:rPr lang="en-GB" sz="1600" dirty="0" err="1"/>
              <a:t>OpenAI</a:t>
            </a:r>
            <a:r>
              <a:rPr lang="en-GB" sz="1600" dirty="0"/>
              <a:t> (2018)</a:t>
            </a:r>
          </a:p>
        </p:txBody>
      </p:sp>
      <p:sp>
        <p:nvSpPr>
          <p:cNvPr id="19" name="Shape 176">
            <a:extLst>
              <a:ext uri="{FF2B5EF4-FFF2-40B4-BE49-F238E27FC236}">
                <a16:creationId xmlns:a16="http://schemas.microsoft.com/office/drawing/2014/main" id="{609E66C1-1582-4BE3-B4A7-1C9ED8399FE9}"/>
              </a:ext>
            </a:extLst>
          </p:cNvPr>
          <p:cNvSpPr/>
          <p:nvPr/>
        </p:nvSpPr>
        <p:spPr>
          <a:xfrm>
            <a:off x="1330412" y="1658469"/>
            <a:ext cx="16681817" cy="627300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137138" tIns="68550" rIns="137138" bIns="68550" anchor="ctr" anchorCtr="0">
            <a:noAutofit/>
          </a:bodyPr>
          <a:lstStyle/>
          <a:p>
            <a:pPr algn="ctr">
              <a:buSzPct val="25000"/>
            </a:pPr>
            <a:r>
              <a:rPr lang="en-US" sz="2700" dirty="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Comparing our performance in Nature-CNN with JERK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5631595-03AE-B040-8110-67E414CC6BD5}"/>
              </a:ext>
            </a:extLst>
          </p:cNvPr>
          <p:cNvGrpSpPr/>
          <p:nvPr/>
        </p:nvGrpSpPr>
        <p:grpSpPr>
          <a:xfrm>
            <a:off x="10066485" y="2956990"/>
            <a:ext cx="7945744" cy="6405317"/>
            <a:chOff x="10066485" y="2956990"/>
            <a:chExt cx="7945744" cy="6405317"/>
          </a:xfrm>
        </p:grpSpPr>
        <p:sp>
          <p:nvSpPr>
            <p:cNvPr id="17" name="Shape 182">
              <a:extLst>
                <a:ext uri="{FF2B5EF4-FFF2-40B4-BE49-F238E27FC236}">
                  <a16:creationId xmlns:a16="http://schemas.microsoft.com/office/drawing/2014/main" id="{2DB5CBF9-56A3-407F-9DFC-43904E4B87C4}"/>
                </a:ext>
              </a:extLst>
            </p:cNvPr>
            <p:cNvSpPr/>
            <p:nvPr/>
          </p:nvSpPr>
          <p:spPr>
            <a:xfrm>
              <a:off x="10066485" y="3026740"/>
              <a:ext cx="504450" cy="487800"/>
            </a:xfrm>
            <a:prstGeom prst="ellipse">
              <a:avLst/>
            </a:prstGeom>
            <a:solidFill>
              <a:schemeClr val="accent1"/>
            </a:solidFill>
            <a:ln w="28575" cap="flat" cmpd="sng">
              <a:solidFill>
                <a:schemeClr val="lt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137138" tIns="68550" rIns="137138" bIns="68550" anchor="ctr" anchorCtr="0">
              <a:noAutofit/>
            </a:bodyPr>
            <a:lstStyle/>
            <a:p>
              <a:pPr algn="ctr">
                <a:buSzPct val="25000"/>
              </a:pPr>
              <a:r>
                <a:rPr lang="en-US" sz="270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2</a:t>
              </a:r>
            </a:p>
          </p:txBody>
        </p:sp>
        <p:sp>
          <p:nvSpPr>
            <p:cNvPr id="18" name="Shape 176">
              <a:extLst>
                <a:ext uri="{FF2B5EF4-FFF2-40B4-BE49-F238E27FC236}">
                  <a16:creationId xmlns:a16="http://schemas.microsoft.com/office/drawing/2014/main" id="{60D1D157-187D-43E7-A5F7-9F4B6D4AA32F}"/>
                </a:ext>
              </a:extLst>
            </p:cNvPr>
            <p:cNvSpPr/>
            <p:nvPr/>
          </p:nvSpPr>
          <p:spPr>
            <a:xfrm>
              <a:off x="10788650" y="2956990"/>
              <a:ext cx="7223579" cy="6273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9050" cap="flat" cmpd="sng">
              <a:noFill/>
              <a:prstDash val="solid"/>
              <a:miter/>
              <a:headEnd type="none" w="med" len="med"/>
              <a:tailEnd type="none" w="med" len="med"/>
            </a:ln>
          </p:spPr>
          <p:txBody>
            <a:bodyPr lIns="137138" tIns="68550" rIns="137138" bIns="68550" anchor="ctr" anchorCtr="0">
              <a:noAutofit/>
            </a:bodyPr>
            <a:lstStyle/>
            <a:p>
              <a:pPr algn="ctr">
                <a:buSzPct val="25000"/>
              </a:pPr>
              <a:r>
                <a:rPr lang="en-US" sz="2700" dirty="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JERK (Just enough Retained Knowledge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75CB10C-891F-4365-BAF1-581EF4FF9C09}"/>
                </a:ext>
              </a:extLst>
            </p:cNvPr>
            <p:cNvSpPr/>
            <p:nvPr/>
          </p:nvSpPr>
          <p:spPr>
            <a:xfrm>
              <a:off x="10788650" y="8628531"/>
              <a:ext cx="7223579" cy="73377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Reward-driven, ignores observations; rewards past actions that historically agent better than others</a:t>
              </a:r>
            </a:p>
          </p:txBody>
        </p:sp>
        <p:pic>
          <p:nvPicPr>
            <p:cNvPr id="9218" name="Picture 2" descr="https://www.noob-programmer.com/wp-content/uploads/2018/05/algorithm.jpg">
              <a:extLst>
                <a:ext uri="{FF2B5EF4-FFF2-40B4-BE49-F238E27FC236}">
                  <a16:creationId xmlns:a16="http://schemas.microsoft.com/office/drawing/2014/main" id="{AADD88D7-E386-4383-8B2C-04F228FC9D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88650" y="3710096"/>
              <a:ext cx="7223578" cy="4918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93661C4-5AC2-2042-B0C4-9118976EFBF9}"/>
              </a:ext>
            </a:extLst>
          </p:cNvPr>
          <p:cNvGrpSpPr/>
          <p:nvPr/>
        </p:nvGrpSpPr>
        <p:grpSpPr>
          <a:xfrm>
            <a:off x="1340284" y="2956990"/>
            <a:ext cx="7945744" cy="6405317"/>
            <a:chOff x="1340284" y="2956990"/>
            <a:chExt cx="7945744" cy="6405317"/>
          </a:xfrm>
        </p:grpSpPr>
        <p:sp>
          <p:nvSpPr>
            <p:cNvPr id="15" name="Shape 182">
              <a:extLst>
                <a:ext uri="{FF2B5EF4-FFF2-40B4-BE49-F238E27FC236}">
                  <a16:creationId xmlns:a16="http://schemas.microsoft.com/office/drawing/2014/main" id="{EBA15EA7-0E43-42EF-9E4E-016F229F3852}"/>
                </a:ext>
              </a:extLst>
            </p:cNvPr>
            <p:cNvSpPr/>
            <p:nvPr/>
          </p:nvSpPr>
          <p:spPr>
            <a:xfrm>
              <a:off x="1340284" y="3026740"/>
              <a:ext cx="504450" cy="487800"/>
            </a:xfrm>
            <a:prstGeom prst="ellipse">
              <a:avLst/>
            </a:prstGeom>
            <a:solidFill>
              <a:schemeClr val="accent1"/>
            </a:solidFill>
            <a:ln w="28575" cap="flat" cmpd="sng">
              <a:solidFill>
                <a:schemeClr val="lt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137138" tIns="68550" rIns="137138" bIns="68550" anchor="ctr" anchorCtr="0">
              <a:noAutofit/>
            </a:bodyPr>
            <a:lstStyle/>
            <a:p>
              <a:pPr algn="ctr">
                <a:buSzPct val="25000"/>
              </a:pPr>
              <a:r>
                <a:rPr lang="en-US" sz="270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1</a:t>
              </a:r>
            </a:p>
          </p:txBody>
        </p:sp>
        <p:sp>
          <p:nvSpPr>
            <p:cNvPr id="16" name="Shape 176">
              <a:extLst>
                <a:ext uri="{FF2B5EF4-FFF2-40B4-BE49-F238E27FC236}">
                  <a16:creationId xmlns:a16="http://schemas.microsoft.com/office/drawing/2014/main" id="{FCD47930-837B-4B68-A342-C8EB1F5F3F41}"/>
                </a:ext>
              </a:extLst>
            </p:cNvPr>
            <p:cNvSpPr/>
            <p:nvPr/>
          </p:nvSpPr>
          <p:spPr>
            <a:xfrm>
              <a:off x="2062449" y="2956990"/>
              <a:ext cx="7223579" cy="6273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 cap="flat" cmpd="sng">
              <a:noFill/>
              <a:prstDash val="solid"/>
              <a:miter/>
              <a:headEnd type="none" w="med" len="med"/>
              <a:tailEnd type="none" w="med" len="med"/>
            </a:ln>
          </p:spPr>
          <p:txBody>
            <a:bodyPr lIns="137138" tIns="68550" rIns="137138" bIns="68550" anchor="ctr" anchorCtr="0">
              <a:noAutofit/>
            </a:bodyPr>
            <a:lstStyle/>
            <a:p>
              <a:pPr algn="ctr">
                <a:buSzPct val="25000"/>
              </a:pPr>
              <a:r>
                <a:rPr lang="en-US" sz="2700" dirty="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Nature-CNN</a:t>
              </a: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7799CBF-4C59-4D43-A940-A0024721AD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062448" y="3710096"/>
              <a:ext cx="7223579" cy="4166830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9C6A2CD-CE65-4374-8DB6-41E877CBA364}"/>
                </a:ext>
              </a:extLst>
            </p:cNvPr>
            <p:cNvSpPr/>
            <p:nvPr/>
          </p:nvSpPr>
          <p:spPr>
            <a:xfrm>
              <a:off x="2062447" y="8628531"/>
              <a:ext cx="7223579" cy="733776"/>
            </a:xfrm>
            <a:prstGeom prst="rect">
              <a:avLst/>
            </a:prstGeom>
            <a:solidFill>
              <a:srgbClr val="7C609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Standard DQN setup that included the use of </a:t>
              </a:r>
            </a:p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a neural network (in contrast to JERK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45176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80A7C-F85F-4554-884F-0A8623816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Hyperparameters and setup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B6393F-1900-4471-86CD-7CCA1625AC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89C1958-D4DD-4E1A-973E-CBD7A2DD99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1576941"/>
              </p:ext>
            </p:extLst>
          </p:nvPr>
        </p:nvGraphicFramePr>
        <p:xfrm>
          <a:off x="12963288" y="3526107"/>
          <a:ext cx="4929887" cy="3316230"/>
        </p:xfrm>
        <a:graphic>
          <a:graphicData uri="http://schemas.openxmlformats.org/drawingml/2006/table">
            <a:tbl>
              <a:tblPr/>
              <a:tblGrid>
                <a:gridCol w="3485461">
                  <a:extLst>
                    <a:ext uri="{9D8B030D-6E8A-4147-A177-3AD203B41FA5}">
                      <a16:colId xmlns:a16="http://schemas.microsoft.com/office/drawing/2014/main" val="549512740"/>
                    </a:ext>
                  </a:extLst>
                </a:gridCol>
                <a:gridCol w="1444426">
                  <a:extLst>
                    <a:ext uri="{9D8B030D-6E8A-4147-A177-3AD203B41FA5}">
                      <a16:colId xmlns:a16="http://schemas.microsoft.com/office/drawing/2014/main" val="3276903209"/>
                    </a:ext>
                  </a:extLst>
                </a:gridCol>
              </a:tblGrid>
              <a:tr h="552705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Hyperparameters description</a:t>
                      </a:r>
                      <a:endParaRPr lang="en-GB" sz="180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ue</a:t>
                      </a:r>
                      <a:endParaRPr lang="en-GB" sz="180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9273742"/>
                  </a:ext>
                </a:extLst>
              </a:tr>
              <a:tr h="552705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arning Rate</a:t>
                      </a:r>
                      <a:endParaRPr lang="en-GB" sz="1800" dirty="0">
                        <a:effectLst/>
                        <a:latin typeface="+mj-lt"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5e-4</a:t>
                      </a:r>
                      <a:endParaRPr lang="en-GB" sz="1800" dirty="0">
                        <a:effectLst/>
                        <a:latin typeface="+mj-lt"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0721717"/>
                  </a:ext>
                </a:extLst>
              </a:tr>
              <a:tr h="552705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Time Step(s)</a:t>
                      </a:r>
                      <a:endParaRPr lang="en-GB" sz="1800" dirty="0">
                        <a:effectLst/>
                        <a:latin typeface="+mj-lt"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e4</a:t>
                      </a:r>
                      <a:endParaRPr lang="en-GB" sz="1800">
                        <a:effectLst/>
                        <a:latin typeface="+mj-lt"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5489941"/>
                  </a:ext>
                </a:extLst>
              </a:tr>
              <a:tr h="552705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ffer Size (replay memory)</a:t>
                      </a:r>
                      <a:endParaRPr lang="en-GB" sz="1800" dirty="0">
                        <a:effectLst/>
                        <a:latin typeface="+mj-lt"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e4</a:t>
                      </a:r>
                      <a:endParaRPr lang="en-GB" sz="1800">
                        <a:effectLst/>
                        <a:latin typeface="+mj-lt"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72067"/>
                  </a:ext>
                </a:extLst>
              </a:tr>
              <a:tr h="552705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xploration Fraction</a:t>
                      </a:r>
                      <a:endParaRPr lang="en-GB" sz="1800" dirty="0">
                        <a:effectLst/>
                        <a:latin typeface="+mj-lt"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  <a:endParaRPr lang="en-GB" sz="1800" dirty="0">
                        <a:effectLst/>
                        <a:latin typeface="+mj-lt"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5598721"/>
                  </a:ext>
                </a:extLst>
              </a:tr>
              <a:tr h="552705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xploration Final EPS</a:t>
                      </a:r>
                      <a:endParaRPr lang="en-GB" sz="1800">
                        <a:effectLst/>
                        <a:latin typeface="+mj-lt"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2</a:t>
                      </a:r>
                      <a:endParaRPr lang="en-GB" sz="1800" dirty="0">
                        <a:effectLst/>
                        <a:latin typeface="+mj-lt"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5226709"/>
                  </a:ext>
                </a:extLst>
              </a:tr>
            </a:tbl>
          </a:graphicData>
        </a:graphic>
      </p:graphicFrame>
      <p:sp>
        <p:nvSpPr>
          <p:cNvPr id="8" name="Rectangle 2">
            <a:extLst>
              <a:ext uri="{FF2B5EF4-FFF2-40B4-BE49-F238E27FC236}">
                <a16:creationId xmlns:a16="http://schemas.microsoft.com/office/drawing/2014/main" id="{EC0915A4-EFE3-46A3-B21B-ED0A848364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8575" y="4322763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3A6FDCD-27CC-BC4D-9BD5-8D77C60695F3}"/>
              </a:ext>
            </a:extLst>
          </p:cNvPr>
          <p:cNvGrpSpPr/>
          <p:nvPr/>
        </p:nvGrpSpPr>
        <p:grpSpPr>
          <a:xfrm>
            <a:off x="381110" y="2687415"/>
            <a:ext cx="12226899" cy="6615377"/>
            <a:chOff x="381110" y="2687415"/>
            <a:chExt cx="12226899" cy="6615377"/>
          </a:xfrm>
        </p:grpSpPr>
        <p:pic>
          <p:nvPicPr>
            <p:cNvPr id="11268" name="Picture 4" descr="https://lh5.googleusercontent.com/hFDxC0UGF7mFzZcxZCz32HWQ55Zl24JII7kJW0CcVqsNRDIcecBR0Pl0VITLwgbbaPLBUWgKMaokgXD5NM0Pus8VxfswFjd5MNFMKDPGuhwvd52rZSsugDqn0iGQXJW0uceIxhXI1CbIaAHk1Q">
              <a:extLst>
                <a:ext uri="{FF2B5EF4-FFF2-40B4-BE49-F238E27FC236}">
                  <a16:creationId xmlns:a16="http://schemas.microsoft.com/office/drawing/2014/main" id="{7552D867-EAD6-4681-B9CC-A23C4A9B36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825" y="3526107"/>
              <a:ext cx="12213184" cy="57766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127B35E-A207-4B5B-9384-301DB2DAD5BC}"/>
                </a:ext>
              </a:extLst>
            </p:cNvPr>
            <p:cNvSpPr/>
            <p:nvPr/>
          </p:nvSpPr>
          <p:spPr>
            <a:xfrm>
              <a:off x="381110" y="2687415"/>
              <a:ext cx="12213184" cy="58477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2600" dirty="0"/>
                <a:t>Model setup</a:t>
              </a:r>
              <a:endParaRPr lang="zh-HK" altLang="en-US" sz="2600" dirty="0"/>
            </a:p>
          </p:txBody>
        </p:sp>
      </p:grpSp>
    </p:spTree>
    <p:extLst>
      <p:ext uri="{BB962C8B-B14F-4D97-AF65-F5344CB8AC3E}">
        <p14:creationId xmlns:p14="http://schemas.microsoft.com/office/powerpoint/2010/main" val="618594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3FA11-E8EB-40E9-AC0E-C17A3306E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HK" sz="3600" dirty="0"/>
              <a:t>Our Results: First Step</a:t>
            </a:r>
            <a:endParaRPr lang="zh-HK" altLang="en-US" sz="360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E700FD0-A0A5-4885-9C98-5E118DD9DE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16" y="9400640"/>
            <a:ext cx="5559770" cy="253916"/>
          </a:xfrm>
        </p:spPr>
        <p:txBody>
          <a:bodyPr/>
          <a:lstStyle/>
          <a:p>
            <a:r>
              <a:rPr lang="en-US" dirty="0"/>
              <a:t>*Reward here means the average number of levels cleared</a:t>
            </a:r>
            <a:endParaRPr lang="en-GB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37AC352-76D3-104C-8D58-8E5807DB049C}"/>
              </a:ext>
            </a:extLst>
          </p:cNvPr>
          <p:cNvGrpSpPr/>
          <p:nvPr/>
        </p:nvGrpSpPr>
        <p:grpSpPr>
          <a:xfrm>
            <a:off x="1181099" y="2337922"/>
            <a:ext cx="7223580" cy="6027002"/>
            <a:chOff x="1181099" y="2337922"/>
            <a:chExt cx="7223580" cy="6027002"/>
          </a:xfrm>
        </p:grpSpPr>
        <p:pic>
          <p:nvPicPr>
            <p:cNvPr id="7" name="Picture 6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4342F42A-C193-4C73-A280-6653582842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1099" y="2965222"/>
              <a:ext cx="7199602" cy="5399702"/>
            </a:xfrm>
            <a:prstGeom prst="rect">
              <a:avLst/>
            </a:prstGeom>
          </p:spPr>
        </p:pic>
        <p:sp>
          <p:nvSpPr>
            <p:cNvPr id="8" name="Shape 176">
              <a:extLst>
                <a:ext uri="{FF2B5EF4-FFF2-40B4-BE49-F238E27FC236}">
                  <a16:creationId xmlns:a16="http://schemas.microsoft.com/office/drawing/2014/main" id="{0C81596B-8B18-41CC-9B0C-1D0C91ABDD4E}"/>
                </a:ext>
              </a:extLst>
            </p:cNvPr>
            <p:cNvSpPr/>
            <p:nvPr/>
          </p:nvSpPr>
          <p:spPr>
            <a:xfrm>
              <a:off x="1181100" y="2337922"/>
              <a:ext cx="7223579" cy="6273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 cap="flat" cmpd="sng">
              <a:noFill/>
              <a:prstDash val="solid"/>
              <a:miter/>
              <a:headEnd type="none" w="med" len="med"/>
              <a:tailEnd type="none" w="med" len="med"/>
            </a:ln>
          </p:spPr>
          <p:txBody>
            <a:bodyPr lIns="137138" tIns="68550" rIns="137138" bIns="68550" anchor="ctr" anchorCtr="0">
              <a:noAutofit/>
            </a:bodyPr>
            <a:lstStyle/>
            <a:p>
              <a:pPr algn="ctr">
                <a:buSzPct val="25000"/>
              </a:pPr>
              <a:r>
                <a:rPr lang="en-US" sz="2700" dirty="0">
                  <a:solidFill>
                    <a:schemeClr val="lt1"/>
                  </a:solidFill>
                  <a:latin typeface="+mj-lt"/>
                  <a:ea typeface="Calibri"/>
                  <a:cs typeface="Calibri"/>
                  <a:sym typeface="Calibri"/>
                </a:rPr>
                <a:t>Base model rewards *(without transfer learning)</a:t>
              </a:r>
            </a:p>
          </p:txBody>
        </p:sp>
      </p:grpSp>
      <p:sp>
        <p:nvSpPr>
          <p:cNvPr id="11" name="Shape 176">
            <a:extLst>
              <a:ext uri="{FF2B5EF4-FFF2-40B4-BE49-F238E27FC236}">
                <a16:creationId xmlns:a16="http://schemas.microsoft.com/office/drawing/2014/main" id="{8214761A-80AB-4EF4-85C9-FD6D1B645991}"/>
              </a:ext>
            </a:extLst>
          </p:cNvPr>
          <p:cNvSpPr/>
          <p:nvPr/>
        </p:nvSpPr>
        <p:spPr>
          <a:xfrm>
            <a:off x="1181100" y="8386189"/>
            <a:ext cx="15949779" cy="970645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905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137138" tIns="68550" rIns="137138" bIns="68550" anchor="ctr" anchorCtr="0">
            <a:noAutofit/>
          </a:bodyPr>
          <a:lstStyle/>
          <a:p>
            <a:pPr algn="ctr">
              <a:buSzPct val="25000"/>
            </a:pPr>
            <a:r>
              <a:rPr lang="en-US" sz="3200" dirty="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Key Takeaway: Even some hyperparameter searches combined with basic transfer learning should yield better performance than letting the agent go wild on its own. 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3ED3472-F386-4D42-9442-E6AC8B4BB5DB}"/>
              </a:ext>
            </a:extLst>
          </p:cNvPr>
          <p:cNvGrpSpPr/>
          <p:nvPr/>
        </p:nvGrpSpPr>
        <p:grpSpPr>
          <a:xfrm>
            <a:off x="9907300" y="2337922"/>
            <a:ext cx="7954220" cy="6044984"/>
            <a:chOff x="9907300" y="2337922"/>
            <a:chExt cx="7954220" cy="6044984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B17D657-D568-A545-9609-58345A29FA4D}"/>
                </a:ext>
              </a:extLst>
            </p:cNvPr>
            <p:cNvGrpSpPr/>
            <p:nvPr/>
          </p:nvGrpSpPr>
          <p:grpSpPr>
            <a:xfrm>
              <a:off x="9907300" y="2337922"/>
              <a:ext cx="7954220" cy="6044984"/>
              <a:chOff x="9907300" y="2337922"/>
              <a:chExt cx="7954220" cy="6044984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033DDF22-F3E2-1E42-AADB-90D7CA27014A}"/>
                  </a:ext>
                </a:extLst>
              </p:cNvPr>
              <p:cNvGrpSpPr/>
              <p:nvPr/>
            </p:nvGrpSpPr>
            <p:grpSpPr>
              <a:xfrm>
                <a:off x="9907300" y="2337922"/>
                <a:ext cx="7954220" cy="6044984"/>
                <a:chOff x="9907300" y="2337922"/>
                <a:chExt cx="7954220" cy="6044984"/>
              </a:xfrm>
            </p:grpSpPr>
            <p:grpSp>
              <p:nvGrpSpPr>
                <p:cNvPr id="16" name="Group 15">
                  <a:extLst>
                    <a:ext uri="{FF2B5EF4-FFF2-40B4-BE49-F238E27FC236}">
                      <a16:creationId xmlns:a16="http://schemas.microsoft.com/office/drawing/2014/main" id="{D85A7E98-12A5-1146-B486-8E4FD37B4BE1}"/>
                    </a:ext>
                  </a:extLst>
                </p:cNvPr>
                <p:cNvGrpSpPr/>
                <p:nvPr/>
              </p:nvGrpSpPr>
              <p:grpSpPr>
                <a:xfrm>
                  <a:off x="9907300" y="2337922"/>
                  <a:ext cx="7223580" cy="6044984"/>
                  <a:chOff x="9907300" y="2337922"/>
                  <a:chExt cx="7223580" cy="6044984"/>
                </a:xfrm>
              </p:grpSpPr>
              <p:pic>
                <p:nvPicPr>
                  <p:cNvPr id="4" name="Picture 3" descr="A close up of a map&#10;&#10;Description automatically generated">
                    <a:extLst>
                      <a:ext uri="{FF2B5EF4-FFF2-40B4-BE49-F238E27FC236}">
                        <a16:creationId xmlns:a16="http://schemas.microsoft.com/office/drawing/2014/main" id="{7032306D-296D-4CBB-9833-E817D847705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907300" y="2965222"/>
                    <a:ext cx="7223579" cy="5417684"/>
                  </a:xfrm>
                  <a:prstGeom prst="rect">
                    <a:avLst/>
                  </a:prstGeom>
                </p:spPr>
              </p:pic>
              <p:sp>
                <p:nvSpPr>
                  <p:cNvPr id="9" name="Shape 176">
                    <a:extLst>
                      <a:ext uri="{FF2B5EF4-FFF2-40B4-BE49-F238E27FC236}">
                        <a16:creationId xmlns:a16="http://schemas.microsoft.com/office/drawing/2014/main" id="{CDAD92C5-6259-482F-8AF5-266DB063416C}"/>
                      </a:ext>
                    </a:extLst>
                  </p:cNvPr>
                  <p:cNvSpPr/>
                  <p:nvPr/>
                </p:nvSpPr>
                <p:spPr>
                  <a:xfrm>
                    <a:off x="9907301" y="2337922"/>
                    <a:ext cx="7223579" cy="627300"/>
                  </a:xfrm>
                  <a:prstGeom prst="rect">
                    <a:avLst/>
                  </a:prstGeom>
                  <a:solidFill>
                    <a:schemeClr val="tx1">
                      <a:lumMod val="65000"/>
                      <a:lumOff val="35000"/>
                    </a:schemeClr>
                  </a:solidFill>
                  <a:ln w="19050" cap="flat" cmpd="sng">
                    <a:noFill/>
                    <a:prstDash val="solid"/>
                    <a:miter/>
                    <a:headEnd type="none" w="med" len="med"/>
                    <a:tailEnd type="none" w="med" len="med"/>
                  </a:ln>
                </p:spPr>
                <p:txBody>
                  <a:bodyPr lIns="137138" tIns="68550" rIns="137138" bIns="68550" anchor="ctr" anchorCtr="0">
                    <a:noAutofit/>
                  </a:bodyPr>
                  <a:lstStyle/>
                  <a:p>
                    <a:pPr algn="ctr">
                      <a:buSzPct val="25000"/>
                    </a:pPr>
                    <a:r>
                      <a:rPr lang="en-US" sz="2700" dirty="0">
                        <a:solidFill>
                          <a:schemeClr val="lt1"/>
                        </a:solidFill>
                        <a:latin typeface="+mj-lt"/>
                        <a:ea typeface="Calibri"/>
                        <a:cs typeface="Calibri"/>
                        <a:sym typeface="Calibri"/>
                      </a:rPr>
                      <a:t>Retrained model rewards*</a:t>
                    </a:r>
                  </a:p>
                </p:txBody>
              </p:sp>
            </p:grpSp>
            <p:cxnSp>
              <p:nvCxnSpPr>
                <p:cNvPr id="6" name="Straight Connector 5">
                  <a:extLst>
                    <a:ext uri="{FF2B5EF4-FFF2-40B4-BE49-F238E27FC236}">
                      <a16:creationId xmlns:a16="http://schemas.microsoft.com/office/drawing/2014/main" id="{3A8B7024-C2E9-E047-AD7B-89DD7DAD59BA}"/>
                    </a:ext>
                  </a:extLst>
                </p:cNvPr>
                <p:cNvCxnSpPr>
                  <a:cxnSpLocks/>
                  <a:endCxn id="13" idx="1"/>
                </p:cNvCxnSpPr>
                <p:nvPr/>
              </p:nvCxnSpPr>
              <p:spPr>
                <a:xfrm>
                  <a:off x="14098772" y="6166884"/>
                  <a:ext cx="2542414" cy="904129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ED87FE90-8E64-E949-8CB0-7A2111DEB5A2}"/>
                    </a:ext>
                  </a:extLst>
                </p:cNvPr>
                <p:cNvSpPr txBox="1"/>
                <p:nvPr/>
              </p:nvSpPr>
              <p:spPr>
                <a:xfrm>
                  <a:off x="16641186" y="6747847"/>
                  <a:ext cx="1220334" cy="6463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/>
                    <a:t>Still need better </a:t>
                  </a:r>
                </a:p>
                <a:p>
                  <a:r>
                    <a:rPr lang="en-US" sz="1200" dirty="0"/>
                    <a:t>Hyperparameter</a:t>
                  </a:r>
                </a:p>
                <a:p>
                  <a:r>
                    <a:rPr lang="en-US" sz="1200" dirty="0"/>
                    <a:t>finetuning</a:t>
                  </a:r>
                </a:p>
              </p:txBody>
            </p:sp>
          </p:grpSp>
          <p:sp>
            <p:nvSpPr>
              <p:cNvPr id="3" name="Oval 2">
                <a:extLst>
                  <a:ext uri="{FF2B5EF4-FFF2-40B4-BE49-F238E27FC236}">
                    <a16:creationId xmlns:a16="http://schemas.microsoft.com/office/drawing/2014/main" id="{622BB16A-3341-D24E-AB98-1C8A20BD978C}"/>
                  </a:ext>
                </a:extLst>
              </p:cNvPr>
              <p:cNvSpPr/>
              <p:nvPr/>
            </p:nvSpPr>
            <p:spPr>
              <a:xfrm>
                <a:off x="12801600" y="5699051"/>
                <a:ext cx="1297172" cy="999461"/>
              </a:xfrm>
              <a:prstGeom prst="ellipse">
                <a:avLst/>
              </a:prstGeom>
              <a:noFill/>
              <a:ln w="3810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AAC6244-1DCE-4742-81F2-4D310E76F8BA}"/>
                </a:ext>
              </a:extLst>
            </p:cNvPr>
            <p:cNvCxnSpPr>
              <a:cxnSpLocks/>
            </p:cNvCxnSpPr>
            <p:nvPr/>
          </p:nvCxnSpPr>
          <p:spPr>
            <a:xfrm>
              <a:off x="14737013" y="3852551"/>
              <a:ext cx="322364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ECF3608-F19D-7B4F-9586-9871361012D3}"/>
                </a:ext>
              </a:extLst>
            </p:cNvPr>
            <p:cNvCxnSpPr>
              <a:cxnSpLocks/>
            </p:cNvCxnSpPr>
            <p:nvPr/>
          </p:nvCxnSpPr>
          <p:spPr>
            <a:xfrm>
              <a:off x="14737013" y="4004951"/>
              <a:ext cx="322364" cy="0"/>
            </a:xfrm>
            <a:prstGeom prst="line">
              <a:avLst/>
            </a:prstGeom>
            <a:ln w="28575">
              <a:solidFill>
                <a:srgbClr val="0432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9EE26AB-9A11-8F44-92E2-0B229F77AFA1}"/>
                </a:ext>
              </a:extLst>
            </p:cNvPr>
            <p:cNvSpPr txBox="1"/>
            <p:nvPr/>
          </p:nvSpPr>
          <p:spPr>
            <a:xfrm>
              <a:off x="15059377" y="3874146"/>
              <a:ext cx="84830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Base model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7258051-8C5F-B848-B55E-8AE6C7DCB88A}"/>
                </a:ext>
              </a:extLst>
            </p:cNvPr>
            <p:cNvSpPr txBox="1"/>
            <p:nvPr/>
          </p:nvSpPr>
          <p:spPr>
            <a:xfrm>
              <a:off x="15059376" y="3719176"/>
              <a:ext cx="11400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Retrained mod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477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3FA11-E8EB-40E9-AC0E-C17A3306EE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0284" y="586363"/>
            <a:ext cx="15300902" cy="553998"/>
          </a:xfrm>
        </p:spPr>
        <p:txBody>
          <a:bodyPr/>
          <a:lstStyle/>
          <a:p>
            <a:r>
              <a:rPr lang="en-US" altLang="zh-HK" sz="3600" dirty="0"/>
              <a:t>Our Improvements: Regularizations by adding Gaussian Noise Layers</a:t>
            </a:r>
            <a:endParaRPr lang="zh-HK" altLang="en-US" sz="360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C5940F-6CAA-5641-BE30-7D0953E6EC88}"/>
              </a:ext>
            </a:extLst>
          </p:cNvPr>
          <p:cNvCxnSpPr>
            <a:cxnSpLocks/>
          </p:cNvCxnSpPr>
          <p:nvPr/>
        </p:nvCxnSpPr>
        <p:spPr>
          <a:xfrm flipV="1">
            <a:off x="7363834" y="1382010"/>
            <a:ext cx="0" cy="81746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A12CFCF-A012-464D-B26A-B1ACE88A0717}"/>
              </a:ext>
            </a:extLst>
          </p:cNvPr>
          <p:cNvCxnSpPr>
            <a:cxnSpLocks/>
          </p:cNvCxnSpPr>
          <p:nvPr/>
        </p:nvCxnSpPr>
        <p:spPr>
          <a:xfrm flipV="1">
            <a:off x="12818203" y="1382010"/>
            <a:ext cx="0" cy="81746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59EBAD8-80D7-D543-9832-8341461348F2}"/>
              </a:ext>
            </a:extLst>
          </p:cNvPr>
          <p:cNvGrpSpPr/>
          <p:nvPr/>
        </p:nvGrpSpPr>
        <p:grpSpPr>
          <a:xfrm>
            <a:off x="0" y="1830108"/>
            <a:ext cx="18288000" cy="4407462"/>
            <a:chOff x="0" y="1830108"/>
            <a:chExt cx="18288000" cy="4407462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C96F9FF-FC37-604F-9660-2DC64812B04A}"/>
                </a:ext>
              </a:extLst>
            </p:cNvPr>
            <p:cNvGrpSpPr/>
            <p:nvPr/>
          </p:nvGrpSpPr>
          <p:grpSpPr>
            <a:xfrm>
              <a:off x="0" y="1830108"/>
              <a:ext cx="18288000" cy="4407462"/>
              <a:chOff x="0" y="1830108"/>
              <a:chExt cx="18288000" cy="4407462"/>
            </a:xfrm>
          </p:grpSpPr>
          <p:pic>
            <p:nvPicPr>
              <p:cNvPr id="5" name="Picture 4" descr="A screenshot of a map&#10;&#10;Description automatically generated">
                <a:extLst>
                  <a:ext uri="{FF2B5EF4-FFF2-40B4-BE49-F238E27FC236}">
                    <a16:creationId xmlns:a16="http://schemas.microsoft.com/office/drawing/2014/main" id="{DD8DEB20-C5F3-A74D-B6E5-FF1E1774E88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8033"/>
              <a:stretch/>
            </p:blipFill>
            <p:spPr>
              <a:xfrm>
                <a:off x="2071116" y="2457408"/>
                <a:ext cx="5179076" cy="3780162"/>
              </a:xfrm>
              <a:prstGeom prst="rect">
                <a:avLst/>
              </a:prstGeom>
            </p:spPr>
          </p:pic>
          <p:sp>
            <p:nvSpPr>
              <p:cNvPr id="6" name="Shape 176">
                <a:extLst>
                  <a:ext uri="{FF2B5EF4-FFF2-40B4-BE49-F238E27FC236}">
                    <a16:creationId xmlns:a16="http://schemas.microsoft.com/office/drawing/2014/main" id="{107C2FC6-B0C6-5E48-82AC-B6371831538C}"/>
                  </a:ext>
                </a:extLst>
              </p:cNvPr>
              <p:cNvSpPr/>
              <p:nvPr/>
            </p:nvSpPr>
            <p:spPr>
              <a:xfrm>
                <a:off x="2071116" y="1830108"/>
                <a:ext cx="5179076" cy="6273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 cap="flat" cmpd="sng">
                <a:noFill/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137138" tIns="68550" rIns="137138" bIns="68550" anchor="ctr" anchorCtr="0">
                <a:noAutofit/>
              </a:bodyPr>
              <a:lstStyle/>
              <a:p>
                <a:pPr algn="ctr">
                  <a:buSzPct val="25000"/>
                </a:pPr>
                <a:r>
                  <a:rPr lang="en-US" sz="2700" dirty="0">
                    <a:solidFill>
                      <a:schemeClr val="lt1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One noise layer</a:t>
                </a:r>
              </a:p>
            </p:txBody>
          </p:sp>
          <p:sp>
            <p:nvSpPr>
              <p:cNvPr id="7" name="Shape 176">
                <a:extLst>
                  <a:ext uri="{FF2B5EF4-FFF2-40B4-BE49-F238E27FC236}">
                    <a16:creationId xmlns:a16="http://schemas.microsoft.com/office/drawing/2014/main" id="{0E822ECF-83E4-844D-81AB-6EA52B56FE38}"/>
                  </a:ext>
                </a:extLst>
              </p:cNvPr>
              <p:cNvSpPr/>
              <p:nvPr/>
            </p:nvSpPr>
            <p:spPr>
              <a:xfrm>
                <a:off x="7532116" y="1830108"/>
                <a:ext cx="5179076" cy="6273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 cap="flat" cmpd="sng">
                <a:noFill/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137138" tIns="68550" rIns="137138" bIns="68550" anchor="ctr" anchorCtr="0">
                <a:noAutofit/>
              </a:bodyPr>
              <a:lstStyle/>
              <a:p>
                <a:pPr algn="ctr">
                  <a:buSzPct val="25000"/>
                </a:pPr>
                <a:r>
                  <a:rPr lang="en-US" sz="2700" dirty="0">
                    <a:solidFill>
                      <a:schemeClr val="lt1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Two noise layers</a:t>
                </a:r>
              </a:p>
            </p:txBody>
          </p:sp>
          <p:sp>
            <p:nvSpPr>
              <p:cNvPr id="8" name="Shape 176">
                <a:extLst>
                  <a:ext uri="{FF2B5EF4-FFF2-40B4-BE49-F238E27FC236}">
                    <a16:creationId xmlns:a16="http://schemas.microsoft.com/office/drawing/2014/main" id="{8EB9048B-83AF-7443-A7F0-59B7B96763BC}"/>
                  </a:ext>
                </a:extLst>
              </p:cNvPr>
              <p:cNvSpPr/>
              <p:nvPr/>
            </p:nvSpPr>
            <p:spPr>
              <a:xfrm>
                <a:off x="13716" y="3746148"/>
                <a:ext cx="2057400" cy="120268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 cap="flat" cmpd="sng">
                <a:noFill/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137138" tIns="68550" rIns="137138" bIns="68550" anchor="ctr" anchorCtr="0">
                <a:noAutofit/>
              </a:bodyPr>
              <a:lstStyle/>
              <a:p>
                <a:pPr algn="ctr">
                  <a:buSzPct val="25000"/>
                </a:pPr>
                <a:r>
                  <a:rPr lang="en-US" sz="2700" dirty="0">
                    <a:solidFill>
                      <a:schemeClr val="lt1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Noise </a:t>
                </a:r>
                <a:r>
                  <a:rPr lang="en-US" sz="2700" dirty="0" err="1">
                    <a:solidFill>
                      <a:schemeClr val="lt1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sd</a:t>
                </a:r>
                <a:r>
                  <a:rPr lang="en-US" sz="2700" dirty="0">
                    <a:solidFill>
                      <a:schemeClr val="lt1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: 1</a:t>
                </a:r>
              </a:p>
            </p:txBody>
          </p:sp>
          <p:pic>
            <p:nvPicPr>
              <p:cNvPr id="12" name="Picture 11" descr="A screenshot of a cell phone&#10;&#10;Description automatically generated">
                <a:extLst>
                  <a:ext uri="{FF2B5EF4-FFF2-40B4-BE49-F238E27FC236}">
                    <a16:creationId xmlns:a16="http://schemas.microsoft.com/office/drawing/2014/main" id="{636C7EC0-5D72-6C41-81B5-7893A179807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8392" b="2"/>
              <a:stretch/>
            </p:blipFill>
            <p:spPr>
              <a:xfrm>
                <a:off x="7600704" y="2457408"/>
                <a:ext cx="5041900" cy="3657250"/>
              </a:xfrm>
              <a:prstGeom prst="rect">
                <a:avLst/>
              </a:prstGeom>
            </p:spPr>
          </p:pic>
          <p:sp>
            <p:nvSpPr>
              <p:cNvPr id="13" name="Shape 176">
                <a:extLst>
                  <a:ext uri="{FF2B5EF4-FFF2-40B4-BE49-F238E27FC236}">
                    <a16:creationId xmlns:a16="http://schemas.microsoft.com/office/drawing/2014/main" id="{4D5E2103-43CF-6D44-8804-E194F8E1B1E1}"/>
                  </a:ext>
                </a:extLst>
              </p:cNvPr>
              <p:cNvSpPr/>
              <p:nvPr/>
            </p:nvSpPr>
            <p:spPr>
              <a:xfrm>
                <a:off x="12993116" y="1830108"/>
                <a:ext cx="5179076" cy="6273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 cap="flat" cmpd="sng">
                <a:noFill/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137138" tIns="68550" rIns="137138" bIns="68550" anchor="ctr" anchorCtr="0">
                <a:noAutofit/>
              </a:bodyPr>
              <a:lstStyle/>
              <a:p>
                <a:pPr algn="ctr">
                  <a:buSzPct val="25000"/>
                </a:pPr>
                <a:r>
                  <a:rPr lang="en-US" sz="2700" dirty="0">
                    <a:solidFill>
                      <a:schemeClr val="lt1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Three noise layers</a:t>
                </a:r>
              </a:p>
            </p:txBody>
          </p:sp>
          <p:pic>
            <p:nvPicPr>
              <p:cNvPr id="15" name="Picture 14" descr="A picture containing map, screenshot&#10;&#10;Description automatically generated">
                <a:extLst>
                  <a:ext uri="{FF2B5EF4-FFF2-40B4-BE49-F238E27FC236}">
                    <a16:creationId xmlns:a16="http://schemas.microsoft.com/office/drawing/2014/main" id="{CFDF6CD1-FD35-0248-939E-D31CDF86CBD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7504" b="1707"/>
              <a:stretch/>
            </p:blipFill>
            <p:spPr>
              <a:xfrm>
                <a:off x="12924528" y="2478673"/>
                <a:ext cx="5194300" cy="3657250"/>
              </a:xfrm>
              <a:prstGeom prst="rect">
                <a:avLst/>
              </a:prstGeom>
            </p:spPr>
          </p:pic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0812714F-9F37-9049-A505-B0A42213CC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0" y="6237570"/>
                <a:ext cx="1828800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A0587D92-1D17-2D4A-8964-2F1B040A678D}"/>
                </a:ext>
              </a:extLst>
            </p:cNvPr>
            <p:cNvCxnSpPr>
              <a:cxnSpLocks/>
            </p:cNvCxnSpPr>
            <p:nvPr/>
          </p:nvCxnSpPr>
          <p:spPr>
            <a:xfrm>
              <a:off x="16318823" y="3044075"/>
              <a:ext cx="322364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0E81745D-F07B-C74D-AA29-884D9C5D4BD4}"/>
                </a:ext>
              </a:extLst>
            </p:cNvPr>
            <p:cNvCxnSpPr>
              <a:cxnSpLocks/>
            </p:cNvCxnSpPr>
            <p:nvPr/>
          </p:nvCxnSpPr>
          <p:spPr>
            <a:xfrm>
              <a:off x="16318823" y="3196475"/>
              <a:ext cx="322364" cy="0"/>
            </a:xfrm>
            <a:prstGeom prst="line">
              <a:avLst/>
            </a:prstGeom>
            <a:ln w="28575">
              <a:solidFill>
                <a:srgbClr val="0432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7258BDF-E0E6-8F4A-B065-13BF8E781D48}"/>
                </a:ext>
              </a:extLst>
            </p:cNvPr>
            <p:cNvSpPr txBox="1"/>
            <p:nvPr/>
          </p:nvSpPr>
          <p:spPr>
            <a:xfrm>
              <a:off x="16641187" y="3065670"/>
              <a:ext cx="84830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Base model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C750073-4289-884C-BA09-BEC570DC335C}"/>
                </a:ext>
              </a:extLst>
            </p:cNvPr>
            <p:cNvSpPr txBox="1"/>
            <p:nvPr/>
          </p:nvSpPr>
          <p:spPr>
            <a:xfrm>
              <a:off x="16641186" y="2910700"/>
              <a:ext cx="11400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Retrained model</a:t>
              </a:r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3C558E74-0E80-0F49-B49F-3B620EAE847B}"/>
                </a:ext>
              </a:extLst>
            </p:cNvPr>
            <p:cNvCxnSpPr>
              <a:cxnSpLocks/>
            </p:cNvCxnSpPr>
            <p:nvPr/>
          </p:nvCxnSpPr>
          <p:spPr>
            <a:xfrm>
              <a:off x="11124523" y="3044075"/>
              <a:ext cx="322364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7879D95-07E7-D042-81E7-53841B622657}"/>
                </a:ext>
              </a:extLst>
            </p:cNvPr>
            <p:cNvCxnSpPr>
              <a:cxnSpLocks/>
            </p:cNvCxnSpPr>
            <p:nvPr/>
          </p:nvCxnSpPr>
          <p:spPr>
            <a:xfrm>
              <a:off x="11124523" y="3196475"/>
              <a:ext cx="322364" cy="0"/>
            </a:xfrm>
            <a:prstGeom prst="line">
              <a:avLst/>
            </a:prstGeom>
            <a:ln w="28575">
              <a:solidFill>
                <a:srgbClr val="0432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D2438E6-35D1-0C43-90FE-7EC77DBAA18B}"/>
                </a:ext>
              </a:extLst>
            </p:cNvPr>
            <p:cNvSpPr txBox="1"/>
            <p:nvPr/>
          </p:nvSpPr>
          <p:spPr>
            <a:xfrm>
              <a:off x="11446887" y="3065670"/>
              <a:ext cx="84830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Base model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873BF3C-7EA0-614F-A6D1-DB400B9FB203}"/>
                </a:ext>
              </a:extLst>
            </p:cNvPr>
            <p:cNvSpPr txBox="1"/>
            <p:nvPr/>
          </p:nvSpPr>
          <p:spPr>
            <a:xfrm>
              <a:off x="11446886" y="2910700"/>
              <a:ext cx="11400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Retrained model</a:t>
              </a:r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B1DBD97F-542C-2E46-B091-F1BF51EBEC89}"/>
                </a:ext>
              </a:extLst>
            </p:cNvPr>
            <p:cNvCxnSpPr>
              <a:cxnSpLocks/>
            </p:cNvCxnSpPr>
            <p:nvPr/>
          </p:nvCxnSpPr>
          <p:spPr>
            <a:xfrm>
              <a:off x="5466306" y="3196475"/>
              <a:ext cx="359423" cy="1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B338930A-829F-3446-A71C-E719BCFC056E}"/>
                </a:ext>
              </a:extLst>
            </p:cNvPr>
            <p:cNvCxnSpPr>
              <a:cxnSpLocks/>
            </p:cNvCxnSpPr>
            <p:nvPr/>
          </p:nvCxnSpPr>
          <p:spPr>
            <a:xfrm>
              <a:off x="5466306" y="3348875"/>
              <a:ext cx="359423" cy="1"/>
            </a:xfrm>
            <a:prstGeom prst="line">
              <a:avLst/>
            </a:prstGeom>
            <a:ln w="28575">
              <a:solidFill>
                <a:srgbClr val="0432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F6A7778-5DA5-674F-9C20-FBD086CA85A2}"/>
                </a:ext>
              </a:extLst>
            </p:cNvPr>
            <p:cNvSpPr txBox="1"/>
            <p:nvPr/>
          </p:nvSpPr>
          <p:spPr>
            <a:xfrm>
              <a:off x="5788670" y="3218070"/>
              <a:ext cx="141251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Base model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94DD3D3-B5C9-6540-B08D-B697BD9101A9}"/>
                </a:ext>
              </a:extLst>
            </p:cNvPr>
            <p:cNvSpPr txBox="1"/>
            <p:nvPr/>
          </p:nvSpPr>
          <p:spPr>
            <a:xfrm>
              <a:off x="5788668" y="3040825"/>
              <a:ext cx="189829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Retrained model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E26AF2BF-E17F-0642-8146-AB376BF9766B}"/>
              </a:ext>
            </a:extLst>
          </p:cNvPr>
          <p:cNvGrpSpPr/>
          <p:nvPr/>
        </p:nvGrpSpPr>
        <p:grpSpPr>
          <a:xfrm>
            <a:off x="0" y="6184028"/>
            <a:ext cx="18118828" cy="3653760"/>
            <a:chOff x="0" y="6184028"/>
            <a:chExt cx="18118828" cy="3653760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404B5552-B508-C34E-9638-106DDEF298EA}"/>
                </a:ext>
              </a:extLst>
            </p:cNvPr>
            <p:cNvGrpSpPr/>
            <p:nvPr/>
          </p:nvGrpSpPr>
          <p:grpSpPr>
            <a:xfrm>
              <a:off x="0" y="6184028"/>
              <a:ext cx="18118828" cy="3653760"/>
              <a:chOff x="0" y="6184028"/>
              <a:chExt cx="18118828" cy="3653760"/>
            </a:xfrm>
          </p:grpSpPr>
          <p:pic>
            <p:nvPicPr>
              <p:cNvPr id="30" name="Picture 29" descr="A screenshot of a cell phone&#10;&#10;Description automatically generated">
                <a:extLst>
                  <a:ext uri="{FF2B5EF4-FFF2-40B4-BE49-F238E27FC236}">
                    <a16:creationId xmlns:a16="http://schemas.microsoft.com/office/drawing/2014/main" id="{43D98DAC-8B97-3D44-858D-7A6702CCFF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64411" y="6237116"/>
                <a:ext cx="4991100" cy="3594100"/>
              </a:xfrm>
              <a:prstGeom prst="rect">
                <a:avLst/>
              </a:prstGeom>
            </p:spPr>
          </p:pic>
          <p:pic>
            <p:nvPicPr>
              <p:cNvPr id="28" name="Picture 27" descr="A screenshot of a cell phone&#10;&#10;Description automatically generated">
                <a:extLst>
                  <a:ext uri="{FF2B5EF4-FFF2-40B4-BE49-F238E27FC236}">
                    <a16:creationId xmlns:a16="http://schemas.microsoft.com/office/drawing/2014/main" id="{A1EA046C-E42C-434B-A4E7-831340A20F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32116" y="6269088"/>
                <a:ext cx="5232400" cy="3568700"/>
              </a:xfrm>
              <a:prstGeom prst="rect">
                <a:avLst/>
              </a:prstGeom>
            </p:spPr>
          </p:pic>
          <p:sp>
            <p:nvSpPr>
              <p:cNvPr id="10" name="Shape 176">
                <a:extLst>
                  <a:ext uri="{FF2B5EF4-FFF2-40B4-BE49-F238E27FC236}">
                    <a16:creationId xmlns:a16="http://schemas.microsoft.com/office/drawing/2014/main" id="{EB1D9A99-98C1-084F-A62D-C6506FC67747}"/>
                  </a:ext>
                </a:extLst>
              </p:cNvPr>
              <p:cNvSpPr/>
              <p:nvPr/>
            </p:nvSpPr>
            <p:spPr>
              <a:xfrm>
                <a:off x="0" y="7412710"/>
                <a:ext cx="2057400" cy="120268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 cap="flat" cmpd="sng">
                <a:noFill/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137138" tIns="68550" rIns="137138" bIns="68550" anchor="ctr" anchorCtr="0">
                <a:noAutofit/>
              </a:bodyPr>
              <a:lstStyle/>
              <a:p>
                <a:pPr algn="ctr">
                  <a:buSzPct val="25000"/>
                </a:pPr>
                <a:r>
                  <a:rPr lang="en-US" sz="2700" dirty="0">
                    <a:solidFill>
                      <a:schemeClr val="lt1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Noise </a:t>
                </a:r>
                <a:r>
                  <a:rPr lang="en-US" sz="2700" dirty="0" err="1">
                    <a:solidFill>
                      <a:schemeClr val="lt1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sd</a:t>
                </a:r>
                <a:r>
                  <a:rPr lang="en-US" sz="2700" dirty="0">
                    <a:solidFill>
                      <a:schemeClr val="lt1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: 0.5</a:t>
                </a:r>
              </a:p>
            </p:txBody>
          </p:sp>
          <p:pic>
            <p:nvPicPr>
              <p:cNvPr id="17" name="Picture 16" descr="A screenshot of a cell phone&#10;&#10;Description automatically generated">
                <a:extLst>
                  <a:ext uri="{FF2B5EF4-FFF2-40B4-BE49-F238E27FC236}">
                    <a16:creationId xmlns:a16="http://schemas.microsoft.com/office/drawing/2014/main" id="{1C615663-17C8-F24F-BE06-8DC21F4D27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076927" y="6184028"/>
                <a:ext cx="5041901" cy="3504300"/>
              </a:xfrm>
              <a:prstGeom prst="rect">
                <a:avLst/>
              </a:prstGeom>
            </p:spPr>
          </p:pic>
        </p:grp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7CCA3DE-BB2B-4247-9B52-DE8AA565DD30}"/>
                </a:ext>
              </a:extLst>
            </p:cNvPr>
            <p:cNvCxnSpPr>
              <a:cxnSpLocks/>
            </p:cNvCxnSpPr>
            <p:nvPr/>
          </p:nvCxnSpPr>
          <p:spPr>
            <a:xfrm>
              <a:off x="16318823" y="6824237"/>
              <a:ext cx="322364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8FE9D859-C79A-4648-88B0-7BCA6D8198D5}"/>
                </a:ext>
              </a:extLst>
            </p:cNvPr>
            <p:cNvCxnSpPr>
              <a:cxnSpLocks/>
            </p:cNvCxnSpPr>
            <p:nvPr/>
          </p:nvCxnSpPr>
          <p:spPr>
            <a:xfrm>
              <a:off x="16318823" y="6976637"/>
              <a:ext cx="322364" cy="0"/>
            </a:xfrm>
            <a:prstGeom prst="line">
              <a:avLst/>
            </a:prstGeom>
            <a:ln w="28575">
              <a:solidFill>
                <a:srgbClr val="0432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4AF240B-9AED-7E43-AEA4-C736BD8C735C}"/>
                </a:ext>
              </a:extLst>
            </p:cNvPr>
            <p:cNvSpPr txBox="1"/>
            <p:nvPr/>
          </p:nvSpPr>
          <p:spPr>
            <a:xfrm>
              <a:off x="16641187" y="6845832"/>
              <a:ext cx="84830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Base model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FDF0DCB-4353-9D46-AA89-166E141A33FC}"/>
                </a:ext>
              </a:extLst>
            </p:cNvPr>
            <p:cNvSpPr txBox="1"/>
            <p:nvPr/>
          </p:nvSpPr>
          <p:spPr>
            <a:xfrm>
              <a:off x="16641186" y="6690862"/>
              <a:ext cx="11400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Retrained model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AA083FD-077D-4E48-99AC-BA0EF97733A1}"/>
                </a:ext>
              </a:extLst>
            </p:cNvPr>
            <p:cNvCxnSpPr>
              <a:cxnSpLocks/>
            </p:cNvCxnSpPr>
            <p:nvPr/>
          </p:nvCxnSpPr>
          <p:spPr>
            <a:xfrm>
              <a:off x="11077503" y="6824237"/>
              <a:ext cx="322364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8297090F-5EA8-EE41-A644-AD34D79CC9D6}"/>
                </a:ext>
              </a:extLst>
            </p:cNvPr>
            <p:cNvCxnSpPr>
              <a:cxnSpLocks/>
            </p:cNvCxnSpPr>
            <p:nvPr/>
          </p:nvCxnSpPr>
          <p:spPr>
            <a:xfrm>
              <a:off x="11077503" y="6976637"/>
              <a:ext cx="322364" cy="0"/>
            </a:xfrm>
            <a:prstGeom prst="line">
              <a:avLst/>
            </a:prstGeom>
            <a:ln w="28575">
              <a:solidFill>
                <a:srgbClr val="0432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AADC683-9535-0F40-9EEA-8E18EB34433C}"/>
                </a:ext>
              </a:extLst>
            </p:cNvPr>
            <p:cNvSpPr txBox="1"/>
            <p:nvPr/>
          </p:nvSpPr>
          <p:spPr>
            <a:xfrm>
              <a:off x="11399867" y="6845832"/>
              <a:ext cx="84830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Base model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4E8C7F8-727D-FB49-BD86-BC99425E3A13}"/>
                </a:ext>
              </a:extLst>
            </p:cNvPr>
            <p:cNvSpPr txBox="1"/>
            <p:nvPr/>
          </p:nvSpPr>
          <p:spPr>
            <a:xfrm>
              <a:off x="11399866" y="6690862"/>
              <a:ext cx="11400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Retrained model</a:t>
              </a: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48127A84-A752-CC4B-A258-8D7EDB9D4759}"/>
                </a:ext>
              </a:extLst>
            </p:cNvPr>
            <p:cNvCxnSpPr>
              <a:cxnSpLocks/>
            </p:cNvCxnSpPr>
            <p:nvPr/>
          </p:nvCxnSpPr>
          <p:spPr>
            <a:xfrm>
              <a:off x="5462070" y="8887368"/>
              <a:ext cx="322364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1215FA6C-9C22-2A4B-952F-E3DEB8E0E1FF}"/>
                </a:ext>
              </a:extLst>
            </p:cNvPr>
            <p:cNvCxnSpPr>
              <a:cxnSpLocks/>
            </p:cNvCxnSpPr>
            <p:nvPr/>
          </p:nvCxnSpPr>
          <p:spPr>
            <a:xfrm>
              <a:off x="5462070" y="9039768"/>
              <a:ext cx="322364" cy="0"/>
            </a:xfrm>
            <a:prstGeom prst="line">
              <a:avLst/>
            </a:prstGeom>
            <a:ln w="28575">
              <a:solidFill>
                <a:srgbClr val="0432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2DC7502-509A-A047-A718-6027AADD79CE}"/>
                </a:ext>
              </a:extLst>
            </p:cNvPr>
            <p:cNvSpPr txBox="1"/>
            <p:nvPr/>
          </p:nvSpPr>
          <p:spPr>
            <a:xfrm>
              <a:off x="5784434" y="8908963"/>
              <a:ext cx="84830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Base model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45E002FB-2D84-1943-AF5F-B489153B631D}"/>
                </a:ext>
              </a:extLst>
            </p:cNvPr>
            <p:cNvSpPr txBox="1"/>
            <p:nvPr/>
          </p:nvSpPr>
          <p:spPr>
            <a:xfrm>
              <a:off x="5784433" y="8753993"/>
              <a:ext cx="11400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Retrained mod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31798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2</TotalTime>
  <Words>695</Words>
  <Application>Microsoft Macintosh PowerPoint</Application>
  <PresentationFormat>Custom</PresentationFormat>
  <Paragraphs>129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mbria Math</vt:lpstr>
      <vt:lpstr>Times New Roman</vt:lpstr>
      <vt:lpstr>Office Theme</vt:lpstr>
      <vt:lpstr>think-cell Slide</vt:lpstr>
      <vt:lpstr>PowerPoint Presentation</vt:lpstr>
      <vt:lpstr>Quick Description on Reinforcement Learning</vt:lpstr>
      <vt:lpstr>Quick Description on Q-learning</vt:lpstr>
      <vt:lpstr>Incomes the Coinrun Environment,  like a simplified Sonic Game</vt:lpstr>
      <vt:lpstr>Training: Incomes the Coinrun Environment,  like a simplified Sonic Game</vt:lpstr>
      <vt:lpstr>Our Model and Baselines: Nature-CNN and JERK</vt:lpstr>
      <vt:lpstr>Model Hyperparameters and setup</vt:lpstr>
      <vt:lpstr>Our Results: First Step</vt:lpstr>
      <vt:lpstr>Our Improvements: Regularizations by adding Gaussian Noise Layers</vt:lpstr>
      <vt:lpstr>Our Improvements: Regularizations by adding Gaussian noise layers</vt:lpstr>
      <vt:lpstr>Conclusion: What’s next?</vt:lpstr>
      <vt:lpstr>PowerPoint Presentation</vt:lpstr>
      <vt:lpstr>Q-func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wth and Culture</dc:title>
  <dc:creator>Christy Chung</dc:creator>
  <cp:keywords>DADJz_lsVl0,BADJzICCYrs</cp:keywords>
  <cp:lastModifiedBy>Tsz Him SUEN</cp:lastModifiedBy>
  <cp:revision>1</cp:revision>
  <cp:lastPrinted>2018-11-28T08:32:43Z</cp:lastPrinted>
  <dcterms:created xsi:type="dcterms:W3CDTF">2018-11-23T15:42:13Z</dcterms:created>
  <dcterms:modified xsi:type="dcterms:W3CDTF">2019-05-08T06:1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11-23T00:00:00Z</vt:filetime>
  </property>
  <property fmtid="{D5CDD505-2E9C-101B-9397-08002B2CF9AE}" pid="3" name="Creator">
    <vt:lpwstr>Canva</vt:lpwstr>
  </property>
  <property fmtid="{D5CDD505-2E9C-101B-9397-08002B2CF9AE}" pid="4" name="LastSaved">
    <vt:filetime>2018-11-23T00:00:00Z</vt:filetime>
  </property>
</Properties>
</file>